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fif" ContentType="image/jpe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6.xml" ContentType="application/vnd.openxmlformats-officedocument.theme+xml"/>
  <Override PartName="/ppt/slideLayouts/slideLayout98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10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theme/themeOverride3.xml" ContentType="application/vnd.openxmlformats-officedocument.themeOverr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theme/themeOverride4.xml" ContentType="application/vnd.openxmlformats-officedocument.themeOverr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59" r:id="rId1"/>
    <p:sldMasterId id="2147483660" r:id="rId2"/>
    <p:sldMasterId id="2147483673" r:id="rId3"/>
    <p:sldMasterId id="2147483675" r:id="rId4"/>
    <p:sldMasterId id="2147483687" r:id="rId5"/>
    <p:sldMasterId id="2147483739" r:id="rId6"/>
    <p:sldMasterId id="2147483779" r:id="rId7"/>
  </p:sldMasterIdLst>
  <p:notesMasterIdLst>
    <p:notesMasterId r:id="rId87"/>
  </p:notesMasterIdLst>
  <p:sldIdLst>
    <p:sldId id="256" r:id="rId8"/>
    <p:sldId id="257" r:id="rId9"/>
    <p:sldId id="262" r:id="rId10"/>
    <p:sldId id="260" r:id="rId11"/>
    <p:sldId id="322" r:id="rId12"/>
    <p:sldId id="268" r:id="rId13"/>
    <p:sldId id="394" r:id="rId14"/>
    <p:sldId id="267" r:id="rId15"/>
    <p:sldId id="323" r:id="rId16"/>
    <p:sldId id="324" r:id="rId17"/>
    <p:sldId id="309" r:id="rId18"/>
    <p:sldId id="316" r:id="rId19"/>
    <p:sldId id="320" r:id="rId20"/>
    <p:sldId id="321" r:id="rId21"/>
    <p:sldId id="325" r:id="rId22"/>
    <p:sldId id="326" r:id="rId23"/>
    <p:sldId id="327" r:id="rId24"/>
    <p:sldId id="280" r:id="rId25"/>
    <p:sldId id="281" r:id="rId26"/>
    <p:sldId id="330" r:id="rId27"/>
    <p:sldId id="328" r:id="rId28"/>
    <p:sldId id="332" r:id="rId29"/>
    <p:sldId id="337" r:id="rId30"/>
    <p:sldId id="333" r:id="rId31"/>
    <p:sldId id="334" r:id="rId32"/>
    <p:sldId id="335" r:id="rId33"/>
    <p:sldId id="336" r:id="rId34"/>
    <p:sldId id="338" r:id="rId35"/>
    <p:sldId id="362" r:id="rId36"/>
    <p:sldId id="284" r:id="rId37"/>
    <p:sldId id="382" r:id="rId38"/>
    <p:sldId id="339" r:id="rId39"/>
    <p:sldId id="366" r:id="rId40"/>
    <p:sldId id="364" r:id="rId41"/>
    <p:sldId id="365" r:id="rId42"/>
    <p:sldId id="396" r:id="rId43"/>
    <p:sldId id="363" r:id="rId44"/>
    <p:sldId id="285" r:id="rId45"/>
    <p:sldId id="367" r:id="rId46"/>
    <p:sldId id="341" r:id="rId47"/>
    <p:sldId id="343" r:id="rId48"/>
    <p:sldId id="346" r:id="rId49"/>
    <p:sldId id="347" r:id="rId50"/>
    <p:sldId id="348" r:id="rId51"/>
    <p:sldId id="393" r:id="rId52"/>
    <p:sldId id="349" r:id="rId53"/>
    <p:sldId id="352" r:id="rId54"/>
    <p:sldId id="350" r:id="rId55"/>
    <p:sldId id="354" r:id="rId56"/>
    <p:sldId id="353" r:id="rId57"/>
    <p:sldId id="355" r:id="rId58"/>
    <p:sldId id="357" r:id="rId59"/>
    <p:sldId id="358" r:id="rId60"/>
    <p:sldId id="359" r:id="rId61"/>
    <p:sldId id="360" r:id="rId62"/>
    <p:sldId id="361" r:id="rId63"/>
    <p:sldId id="368" r:id="rId64"/>
    <p:sldId id="371" r:id="rId65"/>
    <p:sldId id="372" r:id="rId66"/>
    <p:sldId id="373" r:id="rId67"/>
    <p:sldId id="374" r:id="rId68"/>
    <p:sldId id="375" r:id="rId69"/>
    <p:sldId id="376" r:id="rId70"/>
    <p:sldId id="377" r:id="rId71"/>
    <p:sldId id="378" r:id="rId72"/>
    <p:sldId id="379" r:id="rId73"/>
    <p:sldId id="380" r:id="rId74"/>
    <p:sldId id="397" r:id="rId75"/>
    <p:sldId id="398" r:id="rId76"/>
    <p:sldId id="381" r:id="rId77"/>
    <p:sldId id="383" r:id="rId78"/>
    <p:sldId id="384" r:id="rId79"/>
    <p:sldId id="385" r:id="rId80"/>
    <p:sldId id="386" r:id="rId81"/>
    <p:sldId id="387" r:id="rId82"/>
    <p:sldId id="388" r:id="rId83"/>
    <p:sldId id="391" r:id="rId84"/>
    <p:sldId id="390" r:id="rId85"/>
    <p:sldId id="259" r:id="rId86"/>
  </p:sldIdLst>
  <p:sldSz cx="9144000" cy="5143500" type="screen16x9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3F3F3F"/>
    <a:srgbClr val="0068B4"/>
    <a:srgbClr val="006DB7"/>
    <a:srgbClr val="FF7C80"/>
    <a:srgbClr val="D9D9D9"/>
    <a:srgbClr val="000000"/>
    <a:srgbClr val="0063B1"/>
    <a:srgbClr val="1A2442"/>
    <a:srgbClr val="35DF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9228" autoAdjust="0"/>
  </p:normalViewPr>
  <p:slideViewPr>
    <p:cSldViewPr snapToGrid="0">
      <p:cViewPr varScale="1">
        <p:scale>
          <a:sx n="83" d="100"/>
          <a:sy n="83" d="100"/>
        </p:scale>
        <p:origin x="800" y="5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9.xml"/><Relationship Id="rId21" Type="http://schemas.openxmlformats.org/officeDocument/2006/relationships/slide" Target="slides/slide14.xml"/><Relationship Id="rId42" Type="http://schemas.openxmlformats.org/officeDocument/2006/relationships/slide" Target="slides/slide35.xml"/><Relationship Id="rId47" Type="http://schemas.openxmlformats.org/officeDocument/2006/relationships/slide" Target="slides/slide40.xml"/><Relationship Id="rId63" Type="http://schemas.openxmlformats.org/officeDocument/2006/relationships/slide" Target="slides/slide56.xml"/><Relationship Id="rId68" Type="http://schemas.openxmlformats.org/officeDocument/2006/relationships/slide" Target="slides/slide61.xml"/><Relationship Id="rId84" Type="http://schemas.openxmlformats.org/officeDocument/2006/relationships/slide" Target="slides/slide77.xml"/><Relationship Id="rId89" Type="http://schemas.openxmlformats.org/officeDocument/2006/relationships/viewProps" Target="viewProps.xml"/><Relationship Id="rId16" Type="http://schemas.openxmlformats.org/officeDocument/2006/relationships/slide" Target="slides/slide9.xml"/><Relationship Id="rId11" Type="http://schemas.openxmlformats.org/officeDocument/2006/relationships/slide" Target="slides/slide4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53" Type="http://schemas.openxmlformats.org/officeDocument/2006/relationships/slide" Target="slides/slide46.xml"/><Relationship Id="rId58" Type="http://schemas.openxmlformats.org/officeDocument/2006/relationships/slide" Target="slides/slide51.xml"/><Relationship Id="rId74" Type="http://schemas.openxmlformats.org/officeDocument/2006/relationships/slide" Target="slides/slide67.xml"/><Relationship Id="rId79" Type="http://schemas.openxmlformats.org/officeDocument/2006/relationships/slide" Target="slides/slide72.xml"/><Relationship Id="rId5" Type="http://schemas.openxmlformats.org/officeDocument/2006/relationships/slideMaster" Target="slideMasters/slideMaster5.xml"/><Relationship Id="rId90" Type="http://schemas.openxmlformats.org/officeDocument/2006/relationships/theme" Target="theme/theme1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slide" Target="slides/slide41.xml"/><Relationship Id="rId56" Type="http://schemas.openxmlformats.org/officeDocument/2006/relationships/slide" Target="slides/slide49.xml"/><Relationship Id="rId64" Type="http://schemas.openxmlformats.org/officeDocument/2006/relationships/slide" Target="slides/slide57.xml"/><Relationship Id="rId69" Type="http://schemas.openxmlformats.org/officeDocument/2006/relationships/slide" Target="slides/slide62.xml"/><Relationship Id="rId77" Type="http://schemas.openxmlformats.org/officeDocument/2006/relationships/slide" Target="slides/slide70.xml"/><Relationship Id="rId8" Type="http://schemas.openxmlformats.org/officeDocument/2006/relationships/slide" Target="slides/slide1.xml"/><Relationship Id="rId51" Type="http://schemas.openxmlformats.org/officeDocument/2006/relationships/slide" Target="slides/slide44.xml"/><Relationship Id="rId72" Type="http://schemas.openxmlformats.org/officeDocument/2006/relationships/slide" Target="slides/slide65.xml"/><Relationship Id="rId80" Type="http://schemas.openxmlformats.org/officeDocument/2006/relationships/slide" Target="slides/slide73.xml"/><Relationship Id="rId85" Type="http://schemas.openxmlformats.org/officeDocument/2006/relationships/slide" Target="slides/slide7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59" Type="http://schemas.openxmlformats.org/officeDocument/2006/relationships/slide" Target="slides/slide52.xml"/><Relationship Id="rId67" Type="http://schemas.openxmlformats.org/officeDocument/2006/relationships/slide" Target="slides/slide60.xml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54" Type="http://schemas.openxmlformats.org/officeDocument/2006/relationships/slide" Target="slides/slide47.xml"/><Relationship Id="rId62" Type="http://schemas.openxmlformats.org/officeDocument/2006/relationships/slide" Target="slides/slide55.xml"/><Relationship Id="rId70" Type="http://schemas.openxmlformats.org/officeDocument/2006/relationships/slide" Target="slides/slide63.xml"/><Relationship Id="rId75" Type="http://schemas.openxmlformats.org/officeDocument/2006/relationships/slide" Target="slides/slide68.xml"/><Relationship Id="rId83" Type="http://schemas.openxmlformats.org/officeDocument/2006/relationships/slide" Target="slides/slide76.xml"/><Relationship Id="rId88" Type="http://schemas.openxmlformats.org/officeDocument/2006/relationships/presProps" Target="presProps.xml"/><Relationship Id="rId9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slide" Target="slides/slide42.xml"/><Relationship Id="rId57" Type="http://schemas.openxmlformats.org/officeDocument/2006/relationships/slide" Target="slides/slide50.xml"/><Relationship Id="rId10" Type="http://schemas.openxmlformats.org/officeDocument/2006/relationships/slide" Target="slides/slide3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slide" Target="slides/slide45.xml"/><Relationship Id="rId60" Type="http://schemas.openxmlformats.org/officeDocument/2006/relationships/slide" Target="slides/slide53.xml"/><Relationship Id="rId65" Type="http://schemas.openxmlformats.org/officeDocument/2006/relationships/slide" Target="slides/slide58.xml"/><Relationship Id="rId73" Type="http://schemas.openxmlformats.org/officeDocument/2006/relationships/slide" Target="slides/slide66.xml"/><Relationship Id="rId78" Type="http://schemas.openxmlformats.org/officeDocument/2006/relationships/slide" Target="slides/slide71.xml"/><Relationship Id="rId81" Type="http://schemas.openxmlformats.org/officeDocument/2006/relationships/slide" Target="slides/slide74.xml"/><Relationship Id="rId86" Type="http://schemas.openxmlformats.org/officeDocument/2006/relationships/slide" Target="slides/slide79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9" Type="http://schemas.openxmlformats.org/officeDocument/2006/relationships/slide" Target="slides/slide32.xml"/><Relationship Id="rId34" Type="http://schemas.openxmlformats.org/officeDocument/2006/relationships/slide" Target="slides/slide27.xml"/><Relationship Id="rId50" Type="http://schemas.openxmlformats.org/officeDocument/2006/relationships/slide" Target="slides/slide43.xml"/><Relationship Id="rId55" Type="http://schemas.openxmlformats.org/officeDocument/2006/relationships/slide" Target="slides/slide48.xml"/><Relationship Id="rId76" Type="http://schemas.openxmlformats.org/officeDocument/2006/relationships/slide" Target="slides/slide69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64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2.xml"/><Relationship Id="rId24" Type="http://schemas.openxmlformats.org/officeDocument/2006/relationships/slide" Target="slides/slide17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66" Type="http://schemas.openxmlformats.org/officeDocument/2006/relationships/slide" Target="slides/slide59.xml"/><Relationship Id="rId87" Type="http://schemas.openxmlformats.org/officeDocument/2006/relationships/notesMaster" Target="notesMasters/notesMaster1.xml"/><Relationship Id="rId61" Type="http://schemas.openxmlformats.org/officeDocument/2006/relationships/slide" Target="slides/slide54.xml"/><Relationship Id="rId82" Type="http://schemas.openxmlformats.org/officeDocument/2006/relationships/slide" Target="slides/slide75.xml"/><Relationship Id="rId19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30919962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Google Shape;5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462771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Google Shape;170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71" name="Google Shape;171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7840075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Google Shape;170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71" name="Google Shape;171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44234177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63" name="Google Shape;263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12864756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Google Shape;170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71" name="Google Shape;171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4916143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Google Shape;273;p5:notes"/>
          <p:cNvSpPr txBox="1">
            <a:spLocks noGrp="1"/>
          </p:cNvSpPr>
          <p:nvPr>
            <p:ph type="body" idx="1"/>
          </p:nvPr>
        </p:nvSpPr>
        <p:spPr>
          <a:xfrm>
            <a:off x="210611" y="4348915"/>
            <a:ext cx="6893978" cy="1261884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4" name="Google Shape;274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209550" y="347663"/>
            <a:ext cx="6896100" cy="38798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06937242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Google Shape;273;p5:notes"/>
          <p:cNvSpPr txBox="1">
            <a:spLocks noGrp="1"/>
          </p:cNvSpPr>
          <p:nvPr>
            <p:ph type="body" idx="1"/>
          </p:nvPr>
        </p:nvSpPr>
        <p:spPr>
          <a:xfrm>
            <a:off x="210611" y="4348915"/>
            <a:ext cx="6893978" cy="1261884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4" name="Google Shape;274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209550" y="347663"/>
            <a:ext cx="6896100" cy="38798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9859389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Google Shape;273;p5:notes"/>
          <p:cNvSpPr txBox="1">
            <a:spLocks noGrp="1"/>
          </p:cNvSpPr>
          <p:nvPr>
            <p:ph type="body" idx="1"/>
          </p:nvPr>
        </p:nvSpPr>
        <p:spPr>
          <a:xfrm>
            <a:off x="210611" y="4348915"/>
            <a:ext cx="6893978" cy="1261884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4" name="Google Shape;274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209550" y="347663"/>
            <a:ext cx="6896100" cy="38798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90708555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Google Shape;273;p5:notes"/>
          <p:cNvSpPr txBox="1">
            <a:spLocks noGrp="1"/>
          </p:cNvSpPr>
          <p:nvPr>
            <p:ph type="body" idx="1"/>
          </p:nvPr>
        </p:nvSpPr>
        <p:spPr>
          <a:xfrm>
            <a:off x="210611" y="4348915"/>
            <a:ext cx="6893978" cy="1261884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4" name="Google Shape;274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209550" y="347663"/>
            <a:ext cx="6896100" cy="38798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32137944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Google Shape;273;p5:notes"/>
          <p:cNvSpPr txBox="1">
            <a:spLocks noGrp="1"/>
          </p:cNvSpPr>
          <p:nvPr>
            <p:ph type="body" idx="1"/>
          </p:nvPr>
        </p:nvSpPr>
        <p:spPr>
          <a:xfrm>
            <a:off x="210611" y="4348915"/>
            <a:ext cx="6893978" cy="1261884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4" name="Google Shape;274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209550" y="347663"/>
            <a:ext cx="6896100" cy="38798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30264730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Google Shape;273;p5:notes"/>
          <p:cNvSpPr txBox="1">
            <a:spLocks noGrp="1"/>
          </p:cNvSpPr>
          <p:nvPr>
            <p:ph type="body" idx="1"/>
          </p:nvPr>
        </p:nvSpPr>
        <p:spPr>
          <a:xfrm>
            <a:off x="210611" y="4348915"/>
            <a:ext cx="6893978" cy="1261884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4" name="Google Shape;274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209550" y="347663"/>
            <a:ext cx="6896100" cy="38798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7499342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g5afc3cfbb9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7" name="Google Shape;57;g5afc3cfbb9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8843514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PH" dirty="0" smtClean="0"/>
              <a:t>Complexity</a:t>
            </a:r>
            <a:r>
              <a:rPr lang="en-PH" baseline="0" dirty="0" smtClean="0"/>
              <a:t> – logic difficulty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PH" baseline="0" dirty="0" smtClean="0"/>
              <a:t>Effort – coding difficulty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PH" baseline="0" dirty="0" smtClean="0"/>
              <a:t>Other Factors – Remote Access</a:t>
            </a:r>
          </a:p>
        </p:txBody>
      </p:sp>
      <p:sp>
        <p:nvSpPr>
          <p:cNvPr id="201" name="Google Shape;20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61715033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Google Shape;273;p5:notes"/>
          <p:cNvSpPr txBox="1">
            <a:spLocks noGrp="1"/>
          </p:cNvSpPr>
          <p:nvPr>
            <p:ph type="body" idx="1"/>
          </p:nvPr>
        </p:nvSpPr>
        <p:spPr>
          <a:xfrm>
            <a:off x="210611" y="4348915"/>
            <a:ext cx="6893978" cy="1261884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4" name="Google Shape;274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209550" y="347663"/>
            <a:ext cx="6896100" cy="38798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34443231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PH" dirty="0" smtClean="0"/>
              <a:t>Operational</a:t>
            </a:r>
            <a:r>
              <a:rPr lang="en-PH" baseline="0" dirty="0" smtClean="0"/>
              <a:t> Information is important in order to determine the following:</a:t>
            </a:r>
          </a:p>
          <a:p>
            <a:pPr marL="228600" lvl="0" indent="-228600" algn="l" rtl="0"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PH" baseline="0" dirty="0" smtClean="0"/>
              <a:t>Type of license needed for the process</a:t>
            </a:r>
          </a:p>
          <a:p>
            <a:pPr marL="228600" lvl="0" indent="-228600" algn="l" rtl="0"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PH" baseline="0" dirty="0" smtClean="0"/>
              <a:t>Number of licenses needed for the process</a:t>
            </a:r>
            <a:endParaRPr dirty="0"/>
          </a:p>
        </p:txBody>
      </p:sp>
      <p:sp>
        <p:nvSpPr>
          <p:cNvPr id="201" name="Google Shape;20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77267230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Google Shape;273;p5:notes"/>
          <p:cNvSpPr txBox="1">
            <a:spLocks noGrp="1"/>
          </p:cNvSpPr>
          <p:nvPr>
            <p:ph type="body" idx="1"/>
          </p:nvPr>
        </p:nvSpPr>
        <p:spPr>
          <a:xfrm>
            <a:off x="210611" y="4348915"/>
            <a:ext cx="6893978" cy="1261884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4" name="Google Shape;274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209550" y="347663"/>
            <a:ext cx="6896100" cy="38798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99420925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Google Shape;273;p5:notes"/>
          <p:cNvSpPr txBox="1">
            <a:spLocks noGrp="1"/>
          </p:cNvSpPr>
          <p:nvPr>
            <p:ph type="body" idx="1"/>
          </p:nvPr>
        </p:nvSpPr>
        <p:spPr>
          <a:xfrm>
            <a:off x="210611" y="4348915"/>
            <a:ext cx="6893978" cy="1261884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4" name="Google Shape;274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209550" y="347663"/>
            <a:ext cx="6896100" cy="38798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9817323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Google Shape;273;p5:notes"/>
          <p:cNvSpPr txBox="1">
            <a:spLocks noGrp="1"/>
          </p:cNvSpPr>
          <p:nvPr>
            <p:ph type="body" idx="1"/>
          </p:nvPr>
        </p:nvSpPr>
        <p:spPr>
          <a:xfrm>
            <a:off x="210611" y="4348915"/>
            <a:ext cx="6893978" cy="1261884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PH" dirty="0" smtClean="0"/>
              <a:t>Schedule</a:t>
            </a:r>
            <a:r>
              <a:rPr lang="en-PH" baseline="0" dirty="0" smtClean="0"/>
              <a:t> can either be time based or events based</a:t>
            </a:r>
            <a:endParaRPr dirty="0"/>
          </a:p>
        </p:txBody>
      </p:sp>
      <p:sp>
        <p:nvSpPr>
          <p:cNvPr id="274" name="Google Shape;274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209550" y="347663"/>
            <a:ext cx="6896100" cy="38798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29263096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Google Shape;273;p5:notes"/>
          <p:cNvSpPr txBox="1">
            <a:spLocks noGrp="1"/>
          </p:cNvSpPr>
          <p:nvPr>
            <p:ph type="body" idx="1"/>
          </p:nvPr>
        </p:nvSpPr>
        <p:spPr>
          <a:xfrm>
            <a:off x="210611" y="4348915"/>
            <a:ext cx="6893978" cy="1261884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4" name="Google Shape;274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209550" y="347663"/>
            <a:ext cx="6896100" cy="38798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62518466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Google Shape;273;p5:notes"/>
          <p:cNvSpPr txBox="1">
            <a:spLocks noGrp="1"/>
          </p:cNvSpPr>
          <p:nvPr>
            <p:ph type="body" idx="1"/>
          </p:nvPr>
        </p:nvSpPr>
        <p:spPr>
          <a:xfrm>
            <a:off x="210611" y="4348915"/>
            <a:ext cx="6893978" cy="1261884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PH" dirty="0" smtClean="0"/>
              <a:t>Round-up</a:t>
            </a:r>
            <a:r>
              <a:rPr lang="en-PH" baseline="0" dirty="0" smtClean="0"/>
              <a:t> the licenses for the worst case scenario</a:t>
            </a:r>
            <a:endParaRPr dirty="0"/>
          </a:p>
        </p:txBody>
      </p:sp>
      <p:sp>
        <p:nvSpPr>
          <p:cNvPr id="274" name="Google Shape;274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209550" y="347663"/>
            <a:ext cx="6896100" cy="38798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15876842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3" name="Google Shape;413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PH" dirty="0" smtClean="0"/>
              <a:t>Knowing the number of errors and how it</a:t>
            </a:r>
            <a:r>
              <a:rPr lang="en-PH" baseline="0" dirty="0" smtClean="0"/>
              <a:t> is being handled will determine if a process needs improvement outside of RPA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PH" baseline="0" dirty="0" smtClean="0"/>
              <a:t>While existing methods of error handling must be define in order to be part of the logic used by the robot</a:t>
            </a:r>
            <a:r>
              <a:rPr lang="en-PH" dirty="0" smtClean="0"/>
              <a:t> </a:t>
            </a:r>
            <a:endParaRPr dirty="0"/>
          </a:p>
        </p:txBody>
      </p:sp>
      <p:sp>
        <p:nvSpPr>
          <p:cNvPr id="414" name="Google Shape;414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04455987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3" name="Google Shape;413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414" name="Google Shape;414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0228983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" name="Google Shape;224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5" name="Google Shape;225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03578035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3" name="Google Shape;413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414" name="Google Shape;414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67780334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3" name="Google Shape;413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414" name="Google Shape;414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87938728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3" name="Google Shape;413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414" name="Google Shape;414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8422969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3" name="Google Shape;413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414" name="Google Shape;414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19662848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3" name="Google Shape;413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414" name="Google Shape;414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94157276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" name="Google Shape;224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5" name="Google Shape;225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14734986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01" name="Google Shape;20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80218659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g5afc3cfbb9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" name="Google Shape;69;g5afc3cfbb9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314858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" name="Google Shape;224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5" name="Google Shape;225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9620987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8" name="Google Shape;498;g51a24c2a2d_3_16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99" name="Google Shape;499;g51a24c2a2d_3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0174371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>
              <a:buClrTx/>
              <a:buFontTx/>
              <a:buNone/>
              <a:defRPr/>
            </a:pPr>
            <a:fld id="{DB1E5408-B09E-4C66-95FF-F583AAE120E5}" type="slidenum">
              <a:rPr lang="en-US" sz="1200" kern="1200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algn="r">
                <a:buClrTx/>
                <a:buFontTx/>
                <a:buNone/>
                <a:defRPr/>
              </a:pPr>
              <a:t>7</a:t>
            </a:fld>
            <a:endParaRPr lang="en-US" sz="1200" kern="1200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033885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" name="Google Shape;224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25" name="Google Shape;225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1875661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" name="Google Shape;224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5" name="Google Shape;225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8013670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" name="Google Shape;224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5" name="Google Shape;225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3644158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.xml"/><Relationship Id="rId7" Type="http://schemas.openxmlformats.org/officeDocument/2006/relationships/image" Target="../media/image7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2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2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2.emf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2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8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11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7" name="Google Shape;17;p2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" name="Google Shape;18;p2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350601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6"/>
          <p:cNvSpPr txBox="1"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4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38" name="Google Shape;38;p6"/>
          <p:cNvSpPr txBox="1"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15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9" name="Google Shape;39;p6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0" name="Google Shape;40;p6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" name="Google Shape;41;p6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608449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 Content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7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44" name="Google Shape;44;p7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5" name="Google Shape;45;p7"/>
          <p:cNvSpPr txBox="1">
            <a:spLocks noGrp="1"/>
          </p:cNvSpPr>
          <p:nvPr>
            <p:ph type="body" idx="2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6" name="Google Shape;46;p7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7" name="Google Shape;47;p7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8" name="Google Shape;48;p7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286000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Comparison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8"/>
          <p:cNvSpPr txBox="1"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51" name="Google Shape;51;p8"/>
          <p:cNvSpPr txBox="1"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342900" marR="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35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2" name="Google Shape;52;p8"/>
          <p:cNvSpPr txBox="1">
            <a:spLocks noGrp="1"/>
          </p:cNvSpPr>
          <p:nvPr>
            <p:ph type="body" idx="2"/>
          </p:nvPr>
        </p:nvSpPr>
        <p:spPr>
          <a:xfrm>
            <a:off x="629842" y="1878806"/>
            <a:ext cx="3868340" cy="2763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3" name="Google Shape;53;p8"/>
          <p:cNvSpPr txBox="1">
            <a:spLocks noGrp="1"/>
          </p:cNvSpPr>
          <p:nvPr>
            <p:ph type="body" idx="3"/>
          </p:nvPr>
        </p:nvSpPr>
        <p:spPr>
          <a:xfrm>
            <a:off x="4629150" y="1260872"/>
            <a:ext cx="3887391" cy="6179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342900" marR="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35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4" name="Google Shape;54;p8"/>
          <p:cNvSpPr txBox="1">
            <a:spLocks noGrp="1"/>
          </p:cNvSpPr>
          <p:nvPr>
            <p:ph type="body" idx="4"/>
          </p:nvPr>
        </p:nvSpPr>
        <p:spPr>
          <a:xfrm>
            <a:off x="4629150" y="1878806"/>
            <a:ext cx="3887391" cy="2763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5" name="Google Shape;55;p8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6" name="Google Shape;56;p8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7" name="Google Shape;57;p8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049077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Content with Caption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0"/>
          <p:cNvSpPr txBox="1"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65" name="Google Shape;65;p10"/>
          <p:cNvSpPr txBox="1">
            <a:spLocks noGrp="1"/>
          </p:cNvSpPr>
          <p:nvPr>
            <p:ph type="body" idx="1"/>
          </p:nvPr>
        </p:nvSpPr>
        <p:spPr>
          <a:xfrm>
            <a:off x="3887391" y="740569"/>
            <a:ext cx="4629150" cy="36552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3238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3048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" name="Google Shape;66;p10"/>
          <p:cNvSpPr txBox="1">
            <a:spLocks noGrp="1"/>
          </p:cNvSpPr>
          <p:nvPr>
            <p:ph type="body" idx="2"/>
          </p:nvPr>
        </p:nvSpPr>
        <p:spPr>
          <a:xfrm>
            <a:off x="629841" y="1543050"/>
            <a:ext cx="2949178" cy="28586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" name="Google Shape;67;p10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8" name="Google Shape;68;p10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9" name="Google Shape;69;p10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873055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 with Caption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1"/>
          <p:cNvSpPr txBox="1"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72" name="Google Shape;72;p11"/>
          <p:cNvSpPr>
            <a:spLocks noGrp="1"/>
          </p:cNvSpPr>
          <p:nvPr>
            <p:ph type="pic" idx="2"/>
          </p:nvPr>
        </p:nvSpPr>
        <p:spPr>
          <a:xfrm>
            <a:off x="3887391" y="740569"/>
            <a:ext cx="4629150" cy="36552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3" name="Google Shape;73;p11"/>
          <p:cNvSpPr txBox="1">
            <a:spLocks noGrp="1"/>
          </p:cNvSpPr>
          <p:nvPr>
            <p:ph type="body" idx="1"/>
          </p:nvPr>
        </p:nvSpPr>
        <p:spPr>
          <a:xfrm>
            <a:off x="629841" y="1543050"/>
            <a:ext cx="2949178" cy="28586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4" name="Google Shape;74;p11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5" name="Google Shape;75;p11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6" name="Google Shape;76;p11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919645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Title and Vertical Text"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Google Shape;78;p12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79" name="Google Shape;79;p12"/>
          <p:cNvSpPr txBox="1">
            <a:spLocks noGrp="1"/>
          </p:cNvSpPr>
          <p:nvPr>
            <p:ph type="body" idx="1"/>
          </p:nvPr>
        </p:nvSpPr>
        <p:spPr>
          <a:xfrm rot="5400000">
            <a:off x="2940248" y="-942380"/>
            <a:ext cx="3263504" cy="78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0" name="Google Shape;80;p12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1" name="Google Shape;81;p12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2" name="Google Shape;82;p12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418921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 Title and Text"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p13"/>
          <p:cNvSpPr txBox="1">
            <a:spLocks noGrp="1"/>
          </p:cNvSpPr>
          <p:nvPr>
            <p:ph type="title"/>
          </p:nvPr>
        </p:nvSpPr>
        <p:spPr>
          <a:xfrm rot="5400000">
            <a:off x="5350073" y="1467446"/>
            <a:ext cx="4358879" cy="197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85" name="Google Shape;85;p13"/>
          <p:cNvSpPr txBox="1">
            <a:spLocks noGrp="1"/>
          </p:cNvSpPr>
          <p:nvPr>
            <p:ph type="body" idx="1"/>
          </p:nvPr>
        </p:nvSpPr>
        <p:spPr>
          <a:xfrm rot="5400000">
            <a:off x="1349573" y="-447080"/>
            <a:ext cx="4358879" cy="5800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6" name="Google Shape;86;p13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7" name="Google Shape;87;p13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8" name="Google Shape;88;p13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784941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4"/>
          <p:cNvSpPr txBox="1"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4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26" name="Google Shape;26;p4"/>
          <p:cNvSpPr txBox="1"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" name="Google Shape;27;p4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" name="Google Shape;28;p4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9" name="Google Shape;29;p4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862569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"/>
          <p:cNvSpPr txBox="1">
            <a:spLocks noGrp="1"/>
          </p:cNvSpPr>
          <p:nvPr>
            <p:ph type="title"/>
          </p:nvPr>
        </p:nvSpPr>
        <p:spPr>
          <a:xfrm>
            <a:off x="457200" y="205979"/>
            <a:ext cx="8229600" cy="5333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60925" rIns="121875" bIns="6092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sz="27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2"/>
          <p:cNvSpPr txBox="1">
            <a:spLocks noGrp="1"/>
          </p:cNvSpPr>
          <p:nvPr>
            <p:ph type="dt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60925" rIns="121875" bIns="6092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2"/>
          <p:cNvSpPr txBox="1">
            <a:spLocks noGrp="1"/>
          </p:cNvSpPr>
          <p:nvPr>
            <p:ph type="ft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60925" rIns="121875" bIns="609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2"/>
          <p:cNvSpPr txBox="1">
            <a:spLocks noGrp="1"/>
          </p:cNvSpPr>
          <p:nvPr>
            <p:ph type="sldNum" idx="12"/>
          </p:nvPr>
        </p:nvSpPr>
        <p:spPr>
          <a:xfrm>
            <a:off x="6553201" y="4767264"/>
            <a:ext cx="21336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60925" rIns="121875" bIns="6092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28366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>
  <p:cSld name="1_Title Only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4"/>
          <p:cNvSpPr txBox="1">
            <a:spLocks noGrp="1"/>
          </p:cNvSpPr>
          <p:nvPr>
            <p:ph type="title"/>
          </p:nvPr>
        </p:nvSpPr>
        <p:spPr>
          <a:xfrm>
            <a:off x="542925" y="172737"/>
            <a:ext cx="8115300" cy="4385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5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5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5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5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5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5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5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5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0" name="Google Shape;20;p4"/>
          <p:cNvSpPr txBox="1">
            <a:spLocks noGrp="1"/>
          </p:cNvSpPr>
          <p:nvPr>
            <p:ph type="body" idx="1"/>
          </p:nvPr>
        </p:nvSpPr>
        <p:spPr>
          <a:xfrm>
            <a:off x="542926" y="632563"/>
            <a:ext cx="81153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0" rIns="0" bIns="0" anchor="t" anchorCtr="0">
            <a:noAutofit/>
          </a:bodyPr>
          <a:lstStyle>
            <a:lvl1pPr marL="342900" marR="0" lvl="0" indent="-17145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667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▪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2889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62889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▫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3926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40624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52"/>
              <a:buFont typeface="Arial"/>
              <a:buChar char="-"/>
              <a:defRPr sz="122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40624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52"/>
              <a:buFont typeface="Arial"/>
              <a:buChar char="-"/>
              <a:defRPr sz="122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40624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52"/>
              <a:buFont typeface="Arial"/>
              <a:buChar char="-"/>
              <a:defRPr sz="122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40624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52"/>
              <a:buFont typeface="Arial"/>
              <a:buChar char="-"/>
              <a:defRPr sz="122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882982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1_Section 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725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27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27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27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27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27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27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27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27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27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525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21936336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62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342900" lvl="0" indent="-257175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685800" lvl="1" indent="-238125">
              <a:spcBef>
                <a:spcPts val="1200"/>
              </a:spcBef>
              <a:spcAft>
                <a:spcPts val="0"/>
              </a:spcAft>
              <a:buSzPts val="1400"/>
              <a:buChar char="○"/>
              <a:defRPr/>
            </a:lvl2pPr>
            <a:lvl3pPr marL="1028700" lvl="2" indent="-238125">
              <a:spcBef>
                <a:spcPts val="1200"/>
              </a:spcBef>
              <a:spcAft>
                <a:spcPts val="0"/>
              </a:spcAft>
              <a:buSzPts val="1400"/>
              <a:buChar char="■"/>
              <a:defRPr/>
            </a:lvl3pPr>
            <a:lvl4pPr marL="1371600" lvl="3" indent="-238125">
              <a:spcBef>
                <a:spcPts val="1200"/>
              </a:spcBef>
              <a:spcAft>
                <a:spcPts val="0"/>
              </a:spcAft>
              <a:buSzPts val="1400"/>
              <a:buChar char="●"/>
              <a:defRPr/>
            </a:lvl4pPr>
            <a:lvl5pPr marL="1714500" lvl="4" indent="-238125">
              <a:spcBef>
                <a:spcPts val="1200"/>
              </a:spcBef>
              <a:spcAft>
                <a:spcPts val="0"/>
              </a:spcAft>
              <a:buSzPts val="1400"/>
              <a:buChar char="○"/>
              <a:defRPr/>
            </a:lvl5pPr>
            <a:lvl6pPr marL="2057400" lvl="5" indent="-238125">
              <a:spcBef>
                <a:spcPts val="1200"/>
              </a:spcBef>
              <a:spcAft>
                <a:spcPts val="0"/>
              </a:spcAft>
              <a:buSzPts val="1400"/>
              <a:buChar char="■"/>
              <a:defRPr/>
            </a:lvl6pPr>
            <a:lvl7pPr marL="2400300" lvl="6" indent="-238125">
              <a:spcBef>
                <a:spcPts val="1200"/>
              </a:spcBef>
              <a:spcAft>
                <a:spcPts val="0"/>
              </a:spcAft>
              <a:buSzPts val="1400"/>
              <a:buChar char="●"/>
              <a:defRPr/>
            </a:lvl7pPr>
            <a:lvl8pPr marL="2743200" lvl="7" indent="-238125">
              <a:spcBef>
                <a:spcPts val="1200"/>
              </a:spcBef>
              <a:spcAft>
                <a:spcPts val="0"/>
              </a:spcAft>
              <a:buSzPts val="1400"/>
              <a:buChar char="○"/>
              <a:defRPr/>
            </a:lvl8pPr>
            <a:lvl9pPr marL="3086100" lvl="8" indent="-238125">
              <a:spcBef>
                <a:spcPts val="1200"/>
              </a:spcBef>
              <a:spcAft>
                <a:spcPts val="12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525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489790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zul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1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=""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=""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/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#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322860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gradFill>
          <a:gsLst>
            <a:gs pos="0">
              <a:srgbClr val="EFEDEE"/>
            </a:gs>
            <a:gs pos="53000">
              <a:srgbClr val="F1EFF0"/>
            </a:gs>
            <a:gs pos="77000">
              <a:srgbClr val="EFEDEE"/>
            </a:gs>
            <a:gs pos="100000">
              <a:srgbClr val="EFEBEC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22611"/>
            <a:ext cx="7886700" cy="554292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="" xmlns:a16="http://schemas.microsoft.com/office/drawing/2014/main" id="{75930DF0-104B-4293-A7F6-66AEFF3E6AF8}"/>
              </a:ext>
            </a:extLst>
          </p:cNvPr>
          <p:cNvGrpSpPr/>
          <p:nvPr userDrawn="1"/>
        </p:nvGrpSpPr>
        <p:grpSpPr>
          <a:xfrm>
            <a:off x="9415915" y="1"/>
            <a:ext cx="1235642" cy="1362074"/>
            <a:chOff x="12554553" y="1"/>
            <a:chExt cx="1647523" cy="1816099"/>
          </a:xfrm>
        </p:grpSpPr>
        <p:sp>
          <p:nvSpPr>
            <p:cNvPr id="4" name="Rectangle: Folded Corner 3">
              <a:extLst>
                <a:ext uri="{FF2B5EF4-FFF2-40B4-BE49-F238E27FC236}">
                  <a16:creationId xmlns="" xmlns:a16="http://schemas.microsoft.com/office/drawing/2014/main" id="{9FDF5E90-AE29-4303-979F-161F791D98BB}"/>
                </a:ext>
              </a:extLst>
            </p:cNvPr>
            <p:cNvSpPr/>
            <p:nvPr userDrawn="1"/>
          </p:nvSpPr>
          <p:spPr>
            <a:xfrm>
              <a:off x="12554553" y="1"/>
              <a:ext cx="1644047" cy="1816099"/>
            </a:xfrm>
            <a:prstGeom prst="foldedCorner">
              <a:avLst/>
            </a:prstGeom>
            <a:ln>
              <a:noFill/>
            </a:ln>
            <a:effectLst>
              <a:outerShdw blurRad="101600" dist="635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Ins="0" rtlCol="0" anchor="t"/>
            <a:lstStyle/>
            <a:p>
              <a:pPr>
                <a:buClrTx/>
                <a:buFontTx/>
                <a:buNone/>
              </a:pPr>
              <a:r>
                <a:rPr lang="en-US" sz="1050" kern="1200">
                  <a:solidFill>
                    <a:srgbClr val="F7931F">
                      <a:lumMod val="50000"/>
                    </a:srgbClr>
                  </a:solidFill>
                </a:rPr>
                <a:t>To insert your own icons*:</a:t>
              </a:r>
            </a:p>
            <a:p>
              <a:pPr>
                <a:buClrTx/>
                <a:buFontTx/>
                <a:buNone/>
              </a:pPr>
              <a:endParaRPr lang="en-US" sz="1050" kern="1200">
                <a:solidFill>
                  <a:srgbClr val="F7931F">
                    <a:lumMod val="50000"/>
                  </a:srgbClr>
                </a:solidFill>
              </a:endParaRPr>
            </a:p>
            <a:p>
              <a:pPr>
                <a:buClrTx/>
                <a:buFontTx/>
                <a:buNone/>
              </a:pPr>
              <a:r>
                <a:rPr lang="en-US" sz="1050" b="1" kern="1200">
                  <a:solidFill>
                    <a:srgbClr val="F7931F">
                      <a:lumMod val="50000"/>
                    </a:srgbClr>
                  </a:solidFill>
                </a:rPr>
                <a:t>Insert</a:t>
              </a:r>
              <a:r>
                <a:rPr lang="en-US" sz="1050" kern="1200">
                  <a:solidFill>
                    <a:srgbClr val="F7931F">
                      <a:lumMod val="50000"/>
                    </a:srgbClr>
                  </a:solidFill>
                </a:rPr>
                <a:t> &gt;&gt; </a:t>
              </a:r>
              <a:r>
                <a:rPr lang="en-US" sz="1050" b="1" kern="1200">
                  <a:solidFill>
                    <a:srgbClr val="F7931F">
                      <a:lumMod val="50000"/>
                    </a:srgbClr>
                  </a:solidFill>
                </a:rPr>
                <a:t>Icons</a:t>
              </a:r>
            </a:p>
            <a:p>
              <a:pPr>
                <a:buClrTx/>
                <a:buFontTx/>
                <a:buNone/>
              </a:pPr>
              <a:endParaRPr lang="en-US" sz="1050" kern="1200">
                <a:solidFill>
                  <a:srgbClr val="F7931F">
                    <a:lumMod val="50000"/>
                  </a:srgbClr>
                </a:solidFill>
              </a:endParaRPr>
            </a:p>
            <a:p>
              <a:pPr>
                <a:buClrTx/>
                <a:buFontTx/>
                <a:buNone/>
              </a:pPr>
              <a:r>
                <a:rPr lang="en-US" sz="900" i="1" kern="1200">
                  <a:solidFill>
                    <a:srgbClr val="F7931F">
                      <a:lumMod val="50000"/>
                    </a:srgbClr>
                  </a:solidFill>
                </a:rPr>
                <a:t>(*Only available to Office 365 subscribers)</a:t>
              </a:r>
            </a:p>
          </p:txBody>
        </p:sp>
        <p:pic>
          <p:nvPicPr>
            <p:cNvPr id="5" name="Picture 4">
              <a:extLst>
                <a:ext uri="{FF2B5EF4-FFF2-40B4-BE49-F238E27FC236}">
                  <a16:creationId xmlns="" xmlns:a16="http://schemas.microsoft.com/office/drawing/2014/main" id="{9C25032D-D31A-446E-BBAA-A896C50E8CF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3802026" y="424090"/>
              <a:ext cx="400050" cy="6572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6630265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Google Shape;257;p40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8" name="Google Shape;258;p40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9" name="Google Shape;259;p40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106382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2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7" name="Google Shape;267;p42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8" name="Google Shape;268;p42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lvl="0" indent="-25717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028700" lvl="2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71450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40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9" name="Google Shape;269;p42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0" name="Google Shape;270;p42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1" name="Google Shape;271;p42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9571675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Google Shape;273;p43"/>
          <p:cNvSpPr txBox="1">
            <a:spLocks noGrp="1"/>
          </p:cNvSpPr>
          <p:nvPr>
            <p:ph type="title"/>
          </p:nvPr>
        </p:nvSpPr>
        <p:spPr>
          <a:xfrm>
            <a:off x="623888" y="1282304"/>
            <a:ext cx="7886700" cy="21395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45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4" name="Google Shape;274;p43"/>
          <p:cNvSpPr txBox="1">
            <a:spLocks noGrp="1"/>
          </p:cNvSpPr>
          <p:nvPr>
            <p:ph type="body" idx="1"/>
          </p:nvPr>
        </p:nvSpPr>
        <p:spPr>
          <a:xfrm>
            <a:off x="623888" y="3442097"/>
            <a:ext cx="7886700" cy="11252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1800">
                <a:solidFill>
                  <a:srgbClr val="888888"/>
                </a:solidFill>
              </a:defRPr>
            </a:lvl1pPr>
            <a:lvl2pPr marL="68580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1500">
                <a:solidFill>
                  <a:srgbClr val="888888"/>
                </a:solidFill>
              </a:defRPr>
            </a:lvl2pPr>
            <a:lvl3pPr marL="102870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350">
                <a:solidFill>
                  <a:srgbClr val="888888"/>
                </a:solidFill>
              </a:defRPr>
            </a:lvl3pPr>
            <a:lvl4pPr marL="137160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200">
                <a:solidFill>
                  <a:srgbClr val="888888"/>
                </a:solidFill>
              </a:defRPr>
            </a:lvl4pPr>
            <a:lvl5pPr marL="171450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200">
                <a:solidFill>
                  <a:srgbClr val="888888"/>
                </a:solidFill>
              </a:defRPr>
            </a:lvl5pPr>
            <a:lvl6pPr marL="205740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200">
                <a:solidFill>
                  <a:srgbClr val="888888"/>
                </a:solidFill>
              </a:defRPr>
            </a:lvl6pPr>
            <a:lvl7pPr marL="240030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200">
                <a:solidFill>
                  <a:srgbClr val="888888"/>
                </a:solidFill>
              </a:defRPr>
            </a:lvl7pPr>
            <a:lvl8pPr marL="274320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200">
                <a:solidFill>
                  <a:srgbClr val="888888"/>
                </a:solidFill>
              </a:defRPr>
            </a:lvl8pPr>
            <a:lvl9pPr marL="308610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2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275" name="Google Shape;275;p43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6" name="Google Shape;276;p43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7" name="Google Shape;277;p43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69959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 Content"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Google Shape;279;p44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0" name="Google Shape;280;p44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3886200" cy="326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lvl="0" indent="-25717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028700" lvl="2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71450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40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1" name="Google Shape;281;p44"/>
          <p:cNvSpPr txBox="1">
            <a:spLocks noGrp="1"/>
          </p:cNvSpPr>
          <p:nvPr>
            <p:ph type="body" idx="2"/>
          </p:nvPr>
        </p:nvSpPr>
        <p:spPr>
          <a:xfrm>
            <a:off x="4629150" y="1369219"/>
            <a:ext cx="3886200" cy="326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lvl="0" indent="-25717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028700" lvl="2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71450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40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2" name="Google Shape;282;p44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3" name="Google Shape;283;p44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4" name="Google Shape;284;p44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2257702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Comparison">
    <p:spTree>
      <p:nvGrpSpPr>
        <p:cNvPr id="1" name="Shape 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" name="Google Shape;286;p45"/>
          <p:cNvSpPr txBox="1">
            <a:spLocks noGrp="1"/>
          </p:cNvSpPr>
          <p:nvPr>
            <p:ph type="title"/>
          </p:nvPr>
        </p:nvSpPr>
        <p:spPr>
          <a:xfrm>
            <a:off x="629841" y="273844"/>
            <a:ext cx="7886700" cy="994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7" name="Google Shape;287;p45"/>
          <p:cNvSpPr txBox="1">
            <a:spLocks noGrp="1"/>
          </p:cNvSpPr>
          <p:nvPr>
            <p:ph type="body" idx="1"/>
          </p:nvPr>
        </p:nvSpPr>
        <p:spPr>
          <a:xfrm>
            <a:off x="629841" y="1260872"/>
            <a:ext cx="3868425" cy="617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34290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800" b="1"/>
            </a:lvl1pPr>
            <a:lvl2pPr marL="68580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500" b="1"/>
            </a:lvl2pPr>
            <a:lvl3pPr marL="102870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350" b="1"/>
            </a:lvl3pPr>
            <a:lvl4pPr marL="137160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4pPr>
            <a:lvl5pPr marL="171450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5pPr>
            <a:lvl6pPr marL="205740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6pPr>
            <a:lvl7pPr marL="240030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7pPr>
            <a:lvl8pPr marL="274320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8pPr>
            <a:lvl9pPr marL="308610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9pPr>
          </a:lstStyle>
          <a:p>
            <a:endParaRPr/>
          </a:p>
        </p:txBody>
      </p:sp>
      <p:sp>
        <p:nvSpPr>
          <p:cNvPr id="288" name="Google Shape;288;p45"/>
          <p:cNvSpPr txBox="1">
            <a:spLocks noGrp="1"/>
          </p:cNvSpPr>
          <p:nvPr>
            <p:ph type="body" idx="2"/>
          </p:nvPr>
        </p:nvSpPr>
        <p:spPr>
          <a:xfrm>
            <a:off x="629841" y="1878806"/>
            <a:ext cx="3868425" cy="2763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lvl="0" indent="-25717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028700" lvl="2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71450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40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9" name="Google Shape;289;p45"/>
          <p:cNvSpPr txBox="1">
            <a:spLocks noGrp="1"/>
          </p:cNvSpPr>
          <p:nvPr>
            <p:ph type="body" idx="3"/>
          </p:nvPr>
        </p:nvSpPr>
        <p:spPr>
          <a:xfrm>
            <a:off x="4629150" y="1260872"/>
            <a:ext cx="3887325" cy="617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34290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800" b="1"/>
            </a:lvl1pPr>
            <a:lvl2pPr marL="68580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500" b="1"/>
            </a:lvl2pPr>
            <a:lvl3pPr marL="102870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350" b="1"/>
            </a:lvl3pPr>
            <a:lvl4pPr marL="137160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4pPr>
            <a:lvl5pPr marL="171450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5pPr>
            <a:lvl6pPr marL="205740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6pPr>
            <a:lvl7pPr marL="240030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7pPr>
            <a:lvl8pPr marL="274320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8pPr>
            <a:lvl9pPr marL="308610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9pPr>
          </a:lstStyle>
          <a:p>
            <a:endParaRPr/>
          </a:p>
        </p:txBody>
      </p:sp>
      <p:sp>
        <p:nvSpPr>
          <p:cNvPr id="290" name="Google Shape;290;p45"/>
          <p:cNvSpPr txBox="1">
            <a:spLocks noGrp="1"/>
          </p:cNvSpPr>
          <p:nvPr>
            <p:ph type="body" idx="4"/>
          </p:nvPr>
        </p:nvSpPr>
        <p:spPr>
          <a:xfrm>
            <a:off x="4629150" y="1878806"/>
            <a:ext cx="3887325" cy="2763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lvl="0" indent="-25717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028700" lvl="2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71450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40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1" name="Google Shape;291;p45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2" name="Google Shape;292;p45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3" name="Google Shape;293;p45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170132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5" name="Google Shape;295;p46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6" name="Google Shape;296;p46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7" name="Google Shape;297;p46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8" name="Google Shape;298;p46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6413520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Content with Caption">
    <p:spTree>
      <p:nvGrpSpPr>
        <p:cNvPr id="1" name="Shape 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" name="Google Shape;300;p47"/>
          <p:cNvSpPr txBox="1">
            <a:spLocks noGrp="1"/>
          </p:cNvSpPr>
          <p:nvPr>
            <p:ph type="title"/>
          </p:nvPr>
        </p:nvSpPr>
        <p:spPr>
          <a:xfrm>
            <a:off x="629841" y="342900"/>
            <a:ext cx="2949075" cy="1200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1" name="Google Shape;301;p47"/>
          <p:cNvSpPr txBox="1">
            <a:spLocks noGrp="1"/>
          </p:cNvSpPr>
          <p:nvPr>
            <p:ph type="body" idx="1"/>
          </p:nvPr>
        </p:nvSpPr>
        <p:spPr>
          <a:xfrm>
            <a:off x="3887391" y="740569"/>
            <a:ext cx="4629150" cy="365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lvl="0" indent="-3238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2400"/>
            </a:lvl1pPr>
            <a:lvl2pPr marL="685800" lvl="1" indent="-3048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100"/>
            </a:lvl2pPr>
            <a:lvl3pPr marL="1028700" lvl="2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1800"/>
            </a:lvl3pPr>
            <a:lvl4pPr marL="1371600" lvl="3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500"/>
            </a:lvl4pPr>
            <a:lvl5pPr marL="1714500" lvl="4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500"/>
            </a:lvl5pPr>
            <a:lvl6pPr marL="2057400" lvl="5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500"/>
            </a:lvl6pPr>
            <a:lvl7pPr marL="2400300" lvl="6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500"/>
            </a:lvl7pPr>
            <a:lvl8pPr marL="2743200" lvl="7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500"/>
            </a:lvl8pPr>
            <a:lvl9pPr marL="3086100" lvl="8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500"/>
            </a:lvl9pPr>
          </a:lstStyle>
          <a:p>
            <a:endParaRPr/>
          </a:p>
        </p:txBody>
      </p:sp>
      <p:sp>
        <p:nvSpPr>
          <p:cNvPr id="302" name="Google Shape;302;p47"/>
          <p:cNvSpPr txBox="1">
            <a:spLocks noGrp="1"/>
          </p:cNvSpPr>
          <p:nvPr>
            <p:ph type="body" idx="2"/>
          </p:nvPr>
        </p:nvSpPr>
        <p:spPr>
          <a:xfrm>
            <a:off x="629841" y="1543050"/>
            <a:ext cx="2949075" cy="285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1pPr>
            <a:lvl2pPr marL="68580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050"/>
            </a:lvl2pPr>
            <a:lvl3pPr marL="102870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900"/>
            </a:lvl3pPr>
            <a:lvl4pPr marL="137160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4pPr>
            <a:lvl5pPr marL="171450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5pPr>
            <a:lvl6pPr marL="205740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6pPr>
            <a:lvl7pPr marL="240030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7pPr>
            <a:lvl8pPr marL="274320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8pPr>
            <a:lvl9pPr marL="308610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9pPr>
          </a:lstStyle>
          <a:p>
            <a:endParaRPr/>
          </a:p>
        </p:txBody>
      </p:sp>
      <p:sp>
        <p:nvSpPr>
          <p:cNvPr id="303" name="Google Shape;303;p47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4" name="Google Shape;304;p47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5" name="Google Shape;305;p47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5825814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 with Caption"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p48"/>
          <p:cNvSpPr txBox="1">
            <a:spLocks noGrp="1"/>
          </p:cNvSpPr>
          <p:nvPr>
            <p:ph type="title"/>
          </p:nvPr>
        </p:nvSpPr>
        <p:spPr>
          <a:xfrm>
            <a:off x="629841" y="342900"/>
            <a:ext cx="2949075" cy="1200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8" name="Google Shape;308;p48"/>
          <p:cNvSpPr>
            <a:spLocks noGrp="1"/>
          </p:cNvSpPr>
          <p:nvPr>
            <p:ph type="pic" idx="2"/>
          </p:nvPr>
        </p:nvSpPr>
        <p:spPr>
          <a:xfrm>
            <a:off x="3887391" y="740569"/>
            <a:ext cx="4629150" cy="365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09" name="Google Shape;309;p48"/>
          <p:cNvSpPr txBox="1">
            <a:spLocks noGrp="1"/>
          </p:cNvSpPr>
          <p:nvPr>
            <p:ph type="body" idx="1"/>
          </p:nvPr>
        </p:nvSpPr>
        <p:spPr>
          <a:xfrm>
            <a:off x="629841" y="1543050"/>
            <a:ext cx="2949075" cy="285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1pPr>
            <a:lvl2pPr marL="68580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050"/>
            </a:lvl2pPr>
            <a:lvl3pPr marL="102870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900"/>
            </a:lvl3pPr>
            <a:lvl4pPr marL="137160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4pPr>
            <a:lvl5pPr marL="171450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5pPr>
            <a:lvl6pPr marL="205740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6pPr>
            <a:lvl7pPr marL="240030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7pPr>
            <a:lvl8pPr marL="274320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8pPr>
            <a:lvl9pPr marL="308610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9pPr>
          </a:lstStyle>
          <a:p>
            <a:endParaRPr/>
          </a:p>
        </p:txBody>
      </p:sp>
      <p:sp>
        <p:nvSpPr>
          <p:cNvPr id="310" name="Google Shape;310;p48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1" name="Google Shape;311;p48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2" name="Google Shape;312;p48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055016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Title and Vertical Text">
    <p:spTree>
      <p:nvGrpSpPr>
        <p:cNvPr id="1" name="Shape 3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4" name="Google Shape;314;p49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5" name="Google Shape;315;p49"/>
          <p:cNvSpPr txBox="1">
            <a:spLocks noGrp="1"/>
          </p:cNvSpPr>
          <p:nvPr>
            <p:ph type="body" idx="1"/>
          </p:nvPr>
        </p:nvSpPr>
        <p:spPr>
          <a:xfrm rot="5400000">
            <a:off x="2940300" y="-942431"/>
            <a:ext cx="3263400" cy="78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lvl="0" indent="-25717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028700" lvl="2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71450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40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6" name="Google Shape;316;p49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7" name="Google Shape;317;p49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8" name="Google Shape;318;p49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0427417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 Title and Text"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p50"/>
          <p:cNvSpPr txBox="1">
            <a:spLocks noGrp="1"/>
          </p:cNvSpPr>
          <p:nvPr>
            <p:ph type="title"/>
          </p:nvPr>
        </p:nvSpPr>
        <p:spPr>
          <a:xfrm rot="5400000">
            <a:off x="5350050" y="1467469"/>
            <a:ext cx="4358925" cy="197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1" name="Google Shape;321;p50"/>
          <p:cNvSpPr txBox="1">
            <a:spLocks noGrp="1"/>
          </p:cNvSpPr>
          <p:nvPr>
            <p:ph type="body" idx="1"/>
          </p:nvPr>
        </p:nvSpPr>
        <p:spPr>
          <a:xfrm rot="5400000">
            <a:off x="1349550" y="-447056"/>
            <a:ext cx="4358925" cy="5800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lvl="0" indent="-25717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028700" lvl="2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71450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40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2" name="Google Shape;322;p50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3" name="Google Shape;323;p50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4" name="Google Shape;324;p50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9293332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Portada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="" xmlns:a16="http://schemas.microsoft.com/office/drawing/2014/main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4"/>
            <a:ext cx="9144000" cy="515806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 smtClean="0"/>
              <a:t>Haga clic en el icono para agregar una imagen</a:t>
            </a:r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=""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2" y="287691"/>
            <a:ext cx="2794000" cy="1610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Editar el subtitulo de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=""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2" y="516931"/>
            <a:ext cx="2794000" cy="11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=""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1" y="739778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4965" y="2154811"/>
            <a:ext cx="4970108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498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947598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Portada f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="" xmlns:a16="http://schemas.microsoft.com/office/drawing/2014/main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 smtClean="0"/>
              <a:t>Haga clic en el icono para agregar una imagen</a:t>
            </a:r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=""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1" y="2483430"/>
            <a:ext cx="3631622" cy="1860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=""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2" y="2807283"/>
            <a:ext cx="2794000" cy="11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=""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1" y="286933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2256" y="1066237"/>
            <a:ext cx="5672996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998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309830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Portada 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contenido 10">
            <a:extLst>
              <a:ext uri="{FF2B5EF4-FFF2-40B4-BE49-F238E27FC236}">
                <a16:creationId xmlns=""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3" y="3311208"/>
            <a:ext cx="4238625" cy="2178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35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2" y="1821523"/>
            <a:ext cx="4733059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300"/>
            </a:lvl1pPr>
          </a:lstStyle>
          <a:p>
            <a:r>
              <a:rPr lang="es-ES" dirty="0"/>
              <a:t>Haga clic para </a:t>
            </a: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>el </a:t>
            </a:r>
            <a:r>
              <a:rPr lang="es-ES" dirty="0"/>
              <a:t>título principal</a:t>
            </a:r>
            <a:endParaRPr lang="en-US" dirty="0"/>
          </a:p>
        </p:txBody>
      </p:sp>
      <p:sp>
        <p:nvSpPr>
          <p:cNvPr id="6" name="Marcador de contenido 10">
            <a:extLst>
              <a:ext uri="{FF2B5EF4-FFF2-40B4-BE49-F238E27FC236}">
                <a16:creationId xmlns=""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3" y="3639823"/>
            <a:ext cx="4238625" cy="1495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=""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1" y="739778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DB9B7611-A75B-714A-9D2A-408948DB3B5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64251" y="4752977"/>
            <a:ext cx="1083453" cy="132212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=""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88761" y="4589248"/>
            <a:ext cx="1346367" cy="267137"/>
          </a:xfrm>
          <a:prstGeom prst="rect">
            <a:avLst/>
          </a:prstGeom>
        </p:spPr>
      </p:pic>
      <p:grpSp>
        <p:nvGrpSpPr>
          <p:cNvPr id="11" name="Grupo 10">
            <a:extLst>
              <a:ext uri="{FF2B5EF4-FFF2-40B4-BE49-F238E27FC236}">
                <a16:creationId xmlns="" xmlns:a16="http://schemas.microsoft.com/office/drawing/2014/main" id="{72D46510-3BCB-3746-AD05-84A58DE8C86D}"/>
              </a:ext>
            </a:extLst>
          </p:cNvPr>
          <p:cNvGrpSpPr/>
          <p:nvPr userDrawn="1"/>
        </p:nvGrpSpPr>
        <p:grpSpPr>
          <a:xfrm>
            <a:off x="5134782" y="1009524"/>
            <a:ext cx="1569938" cy="2773505"/>
            <a:chOff x="4700634" y="1022350"/>
            <a:chExt cx="1569938" cy="2774950"/>
          </a:xfrm>
          <a:solidFill>
            <a:schemeClr val="accent2"/>
          </a:solidFill>
        </p:grpSpPr>
        <p:sp>
          <p:nvSpPr>
            <p:cNvPr id="12" name="Rectángulo 6">
              <a:extLst>
                <a:ext uri="{FF2B5EF4-FFF2-40B4-BE49-F238E27FC236}">
                  <a16:creationId xmlns="" xmlns:a16="http://schemas.microsoft.com/office/drawing/2014/main" id="{7B3603A7-D7F6-D447-AC7E-DCEDD18B5644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3" name="Rectángulo 12">
              <a:extLst>
                <a:ext uri="{FF2B5EF4-FFF2-40B4-BE49-F238E27FC236}">
                  <a16:creationId xmlns="" xmlns:a16="http://schemas.microsoft.com/office/drawing/2014/main" id="{DEF7F3DA-3318-B54A-A86E-1C0912576A14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4" name="Rectángulo 13">
              <a:extLst>
                <a:ext uri="{FF2B5EF4-FFF2-40B4-BE49-F238E27FC236}">
                  <a16:creationId xmlns="" xmlns:a16="http://schemas.microsoft.com/office/drawing/2014/main" id="{AF95EF0D-64BD-8C41-9271-7C7E67BA1752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5" name="Rectángulo 14">
              <a:extLst>
                <a:ext uri="{FF2B5EF4-FFF2-40B4-BE49-F238E27FC236}">
                  <a16:creationId xmlns="" xmlns:a16="http://schemas.microsoft.com/office/drawing/2014/main" id="{7C54F4E3-09F1-DA4F-AC1E-D94DC533F11F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grpSp>
        <p:nvGrpSpPr>
          <p:cNvPr id="16" name="Grupo 15">
            <a:extLst>
              <a:ext uri="{FF2B5EF4-FFF2-40B4-BE49-F238E27FC236}">
                <a16:creationId xmlns="" xmlns:a16="http://schemas.microsoft.com/office/drawing/2014/main" id="{EB2B45F2-8D32-A344-93BE-979FC74FCFB7}"/>
              </a:ext>
            </a:extLst>
          </p:cNvPr>
          <p:cNvGrpSpPr/>
          <p:nvPr userDrawn="1"/>
        </p:nvGrpSpPr>
        <p:grpSpPr>
          <a:xfrm>
            <a:off x="6116089" y="1009524"/>
            <a:ext cx="1569938" cy="2773505"/>
            <a:chOff x="4700634" y="1022350"/>
            <a:chExt cx="1569938" cy="2774950"/>
          </a:xfrm>
          <a:solidFill>
            <a:schemeClr val="tx2"/>
          </a:solidFill>
        </p:grpSpPr>
        <p:sp>
          <p:nvSpPr>
            <p:cNvPr id="17" name="Rectángulo 6">
              <a:extLst>
                <a:ext uri="{FF2B5EF4-FFF2-40B4-BE49-F238E27FC236}">
                  <a16:creationId xmlns="" xmlns:a16="http://schemas.microsoft.com/office/drawing/2014/main" id="{B5C53D1D-2BE8-DC4D-9686-EE7D25277B36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8" name="Rectángulo 17">
              <a:extLst>
                <a:ext uri="{FF2B5EF4-FFF2-40B4-BE49-F238E27FC236}">
                  <a16:creationId xmlns="" xmlns:a16="http://schemas.microsoft.com/office/drawing/2014/main" id="{F900BB0B-5327-5945-98EC-D80CC934A2A3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9" name="Rectángulo 18">
              <a:extLst>
                <a:ext uri="{FF2B5EF4-FFF2-40B4-BE49-F238E27FC236}">
                  <a16:creationId xmlns="" xmlns:a16="http://schemas.microsoft.com/office/drawing/2014/main" id="{B1DD8B18-64B5-4948-BB66-287B0484AF59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20" name="Rectángulo 19">
              <a:extLst>
                <a:ext uri="{FF2B5EF4-FFF2-40B4-BE49-F238E27FC236}">
                  <a16:creationId xmlns="" xmlns:a16="http://schemas.microsoft.com/office/drawing/2014/main" id="{D12A53A6-630E-7B4D-A7A5-8AA797881B4E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grpSp>
        <p:nvGrpSpPr>
          <p:cNvPr id="21" name="Grupo 20">
            <a:extLst>
              <a:ext uri="{FF2B5EF4-FFF2-40B4-BE49-F238E27FC236}">
                <a16:creationId xmlns="" xmlns:a16="http://schemas.microsoft.com/office/drawing/2014/main" id="{C733D58C-D2A1-9040-B07D-82C6EAEF6E32}"/>
              </a:ext>
            </a:extLst>
          </p:cNvPr>
          <p:cNvGrpSpPr/>
          <p:nvPr userDrawn="1"/>
        </p:nvGrpSpPr>
        <p:grpSpPr>
          <a:xfrm>
            <a:off x="7097397" y="1009524"/>
            <a:ext cx="1569938" cy="2773505"/>
            <a:chOff x="4700634" y="1022350"/>
            <a:chExt cx="1569938" cy="2774950"/>
          </a:xfrm>
          <a:solidFill>
            <a:schemeClr val="accent5"/>
          </a:solidFill>
        </p:grpSpPr>
        <p:sp>
          <p:nvSpPr>
            <p:cNvPr id="22" name="Rectángulo 6">
              <a:extLst>
                <a:ext uri="{FF2B5EF4-FFF2-40B4-BE49-F238E27FC236}">
                  <a16:creationId xmlns="" xmlns:a16="http://schemas.microsoft.com/office/drawing/2014/main" id="{D71BC356-ED41-B049-88E2-47DC0FA3C96B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23" name="Rectángulo 22">
              <a:extLst>
                <a:ext uri="{FF2B5EF4-FFF2-40B4-BE49-F238E27FC236}">
                  <a16:creationId xmlns="" xmlns:a16="http://schemas.microsoft.com/office/drawing/2014/main" id="{4A4DF583-F789-A147-928A-81BDEA644EAF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24" name="Rectángulo 23">
              <a:extLst>
                <a:ext uri="{FF2B5EF4-FFF2-40B4-BE49-F238E27FC236}">
                  <a16:creationId xmlns="" xmlns:a16="http://schemas.microsoft.com/office/drawing/2014/main" id="{BD340412-0579-1344-9B6D-DEF4DEE4960D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25" name="Rectángulo 24">
              <a:extLst>
                <a:ext uri="{FF2B5EF4-FFF2-40B4-BE49-F238E27FC236}">
                  <a16:creationId xmlns="" xmlns:a16="http://schemas.microsoft.com/office/drawing/2014/main" id="{44E55E4B-0109-E64B-A511-0CD7799B8CF6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3057355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ic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252000" y="484191"/>
            <a:ext cx="8263350" cy="647701"/>
          </a:xfrm>
          <a:prstGeom prst="rect">
            <a:avLst/>
          </a:prstGeom>
        </p:spPr>
        <p:txBody>
          <a:bodyPr lIns="0" tIns="0" rIns="0" bIns="0"/>
          <a:lstStyle>
            <a:lvl1pPr>
              <a:defRPr sz="2099"/>
            </a:lvl1pPr>
          </a:lstStyle>
          <a:p>
            <a:r>
              <a:rPr lang="es-ES" dirty="0"/>
              <a:t>Índice</a:t>
            </a:r>
          </a:p>
        </p:txBody>
      </p:sp>
      <p:sp>
        <p:nvSpPr>
          <p:cNvPr id="4" name="Forma libre 3">
            <a:extLst>
              <a:ext uri="{FF2B5EF4-FFF2-40B4-BE49-F238E27FC236}">
                <a16:creationId xmlns="" xmlns:a16="http://schemas.microsoft.com/office/drawing/2014/main" id="{F6C55DCE-A9B0-2243-80CD-2F30EC5EF5A4}"/>
              </a:ext>
            </a:extLst>
          </p:cNvPr>
          <p:cNvSpPr/>
          <p:nvPr userDrawn="1"/>
        </p:nvSpPr>
        <p:spPr>
          <a:xfrm>
            <a:off x="3246188" y="1674712"/>
            <a:ext cx="5954590" cy="35681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1004426 w 3575725"/>
              <a:gd name="connsiteY4" fmla="*/ 3134611 h 3139345"/>
              <a:gd name="connsiteX5" fmla="*/ 0 w 3575725"/>
              <a:gd name="connsiteY5" fmla="*/ 2126285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2606583 w 3575725"/>
              <a:gd name="connsiteY4" fmla="*/ 2141725 h 3139345"/>
              <a:gd name="connsiteX5" fmla="*/ 0 w 3575725"/>
              <a:gd name="connsiteY5" fmla="*/ 2126285 h 3139345"/>
              <a:gd name="connsiteX0" fmla="*/ 0 w 3575725"/>
              <a:gd name="connsiteY0" fmla="*/ 2126285 h 2142697"/>
              <a:gd name="connsiteX1" fmla="*/ 1945 w 3575725"/>
              <a:gd name="connsiteY1" fmla="*/ 1021080 h 2142697"/>
              <a:gd name="connsiteX2" fmla="*/ 3575725 w 3575725"/>
              <a:gd name="connsiteY2" fmla="*/ 0 h 2142697"/>
              <a:gd name="connsiteX3" fmla="*/ 3574752 w 3575725"/>
              <a:gd name="connsiteY3" fmla="*/ 2142697 h 2142697"/>
              <a:gd name="connsiteX4" fmla="*/ 2606583 w 3575725"/>
              <a:gd name="connsiteY4" fmla="*/ 2141725 h 2142697"/>
              <a:gd name="connsiteX5" fmla="*/ 0 w 3575725"/>
              <a:gd name="connsiteY5" fmla="*/ 2126285 h 214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725" h="2142697">
                <a:moveTo>
                  <a:pt x="0" y="2126285"/>
                </a:moveTo>
                <a:cubicBezTo>
                  <a:pt x="3156" y="1423160"/>
                  <a:pt x="-1211" y="1724205"/>
                  <a:pt x="1945" y="1021080"/>
                </a:cubicBezTo>
                <a:lnTo>
                  <a:pt x="3575725" y="0"/>
                </a:lnTo>
                <a:cubicBezTo>
                  <a:pt x="3575401" y="714232"/>
                  <a:pt x="3575076" y="1428465"/>
                  <a:pt x="3574752" y="2142697"/>
                </a:cubicBezTo>
                <a:lnTo>
                  <a:pt x="2606583" y="2141725"/>
                </a:lnTo>
                <a:lnTo>
                  <a:pt x="0" y="212628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="" xmlns:a16="http://schemas.microsoft.com/office/drawing/2014/main" id="{00D88BD8-9E72-844D-A3E4-A145CC1FC878}"/>
              </a:ext>
            </a:extLst>
          </p:cNvPr>
          <p:cNvSpPr/>
          <p:nvPr userDrawn="1"/>
        </p:nvSpPr>
        <p:spPr>
          <a:xfrm>
            <a:off x="2097273" y="670702"/>
            <a:ext cx="5967116" cy="457220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2736231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448410 w 3583247"/>
              <a:gd name="connsiteY4" fmla="*/ 2740388 h 3139345"/>
              <a:gd name="connsiteX5" fmla="*/ 0 w 3583247"/>
              <a:gd name="connsiteY5" fmla="*/ 2736231 h 3139345"/>
              <a:gd name="connsiteX0" fmla="*/ 0 w 3583247"/>
              <a:gd name="connsiteY0" fmla="*/ 2736231 h 2740388"/>
              <a:gd name="connsiteX1" fmla="*/ 9467 w 3583247"/>
              <a:gd name="connsiteY1" fmla="*/ 1021080 h 2740388"/>
              <a:gd name="connsiteX2" fmla="*/ 3583247 w 3583247"/>
              <a:gd name="connsiteY2" fmla="*/ 0 h 2740388"/>
              <a:gd name="connsiteX3" fmla="*/ 3557394 w 3583247"/>
              <a:gd name="connsiteY3" fmla="*/ 2738082 h 2740388"/>
              <a:gd name="connsiteX4" fmla="*/ 1448410 w 3583247"/>
              <a:gd name="connsiteY4" fmla="*/ 2740388 h 2740388"/>
              <a:gd name="connsiteX5" fmla="*/ 0 w 3583247"/>
              <a:gd name="connsiteY5" fmla="*/ 2736231 h 2740388"/>
              <a:gd name="connsiteX0" fmla="*/ 0 w 3583247"/>
              <a:gd name="connsiteY0" fmla="*/ 2736231 h 2745604"/>
              <a:gd name="connsiteX1" fmla="*/ 9467 w 3583247"/>
              <a:gd name="connsiteY1" fmla="*/ 1021080 h 2745604"/>
              <a:gd name="connsiteX2" fmla="*/ 3583247 w 3583247"/>
              <a:gd name="connsiteY2" fmla="*/ 0 h 2745604"/>
              <a:gd name="connsiteX3" fmla="*/ 3579960 w 3583247"/>
              <a:gd name="connsiteY3" fmla="*/ 2745604 h 2745604"/>
              <a:gd name="connsiteX4" fmla="*/ 1448410 w 3583247"/>
              <a:gd name="connsiteY4" fmla="*/ 2740388 h 2745604"/>
              <a:gd name="connsiteX5" fmla="*/ 0 w 3583247"/>
              <a:gd name="connsiteY5" fmla="*/ 2736231 h 274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2745604">
                <a:moveTo>
                  <a:pt x="0" y="2736231"/>
                </a:moveTo>
                <a:cubicBezTo>
                  <a:pt x="3156" y="2033106"/>
                  <a:pt x="6311" y="1724205"/>
                  <a:pt x="9467" y="1021080"/>
                </a:cubicBezTo>
                <a:lnTo>
                  <a:pt x="3583247" y="0"/>
                </a:lnTo>
                <a:cubicBezTo>
                  <a:pt x="3582151" y="915201"/>
                  <a:pt x="3581056" y="1830403"/>
                  <a:pt x="3579960" y="2745604"/>
                </a:cubicBezTo>
                <a:lnTo>
                  <a:pt x="1448410" y="2740388"/>
                </a:lnTo>
                <a:lnTo>
                  <a:pt x="0" y="273623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6" name="Forma libre 5">
            <a:extLst>
              <a:ext uri="{FF2B5EF4-FFF2-40B4-BE49-F238E27FC236}">
                <a16:creationId xmlns="" xmlns:a16="http://schemas.microsoft.com/office/drawing/2014/main" id="{95D2642E-B667-424F-952B-3431D2440BB5}"/>
              </a:ext>
            </a:extLst>
          </p:cNvPr>
          <p:cNvSpPr/>
          <p:nvPr userDrawn="1"/>
        </p:nvSpPr>
        <p:spPr>
          <a:xfrm>
            <a:off x="-69215" y="15012"/>
            <a:ext cx="6194595" cy="52278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3139345">
                <a:moveTo>
                  <a:pt x="0" y="3130454"/>
                </a:moveTo>
                <a:cubicBezTo>
                  <a:pt x="3156" y="2427329"/>
                  <a:pt x="6311" y="1724205"/>
                  <a:pt x="9467" y="1021080"/>
                </a:cubicBezTo>
                <a:lnTo>
                  <a:pt x="3583247" y="0"/>
                </a:lnTo>
                <a:lnTo>
                  <a:pt x="3578513" y="3139345"/>
                </a:lnTo>
                <a:lnTo>
                  <a:pt x="1011948" y="3134611"/>
                </a:lnTo>
                <a:lnTo>
                  <a:pt x="0" y="31304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3" name="Marcador de texto 2"/>
          <p:cNvSpPr>
            <a:spLocks noGrp="1"/>
          </p:cNvSpPr>
          <p:nvPr>
            <p:ph type="body" sz="quarter" idx="10" hasCustomPrompt="1"/>
          </p:nvPr>
        </p:nvSpPr>
        <p:spPr>
          <a:xfrm>
            <a:off x="252000" y="1833567"/>
            <a:ext cx="4320000" cy="2682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Capí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41999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628" y="534328"/>
            <a:ext cx="5665375" cy="5359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998" b="0" i="0">
                <a:solidFill>
                  <a:schemeClr val="tx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Gracias!</a:t>
            </a:r>
            <a:endParaRPr lang="en-US" dirty="0"/>
          </a:p>
        </p:txBody>
      </p:sp>
      <p:sp>
        <p:nvSpPr>
          <p:cNvPr id="3" name="Rectángulo 3">
            <a:extLst>
              <a:ext uri="{FF2B5EF4-FFF2-40B4-BE49-F238E27FC236}">
                <a16:creationId xmlns="" xmlns:a16="http://schemas.microsoft.com/office/drawing/2014/main" id="{A1E39811-A34B-AD46-8ACC-A06DB4D267D0}"/>
              </a:ext>
            </a:extLst>
          </p:cNvPr>
          <p:cNvSpPr/>
          <p:nvPr userDrawn="1"/>
        </p:nvSpPr>
        <p:spPr>
          <a:xfrm>
            <a:off x="5808519" y="2774373"/>
            <a:ext cx="1931834" cy="2857500"/>
          </a:xfrm>
          <a:custGeom>
            <a:avLst/>
            <a:gdLst>
              <a:gd name="connsiteX0" fmla="*/ 0 w 1569027"/>
              <a:gd name="connsiteY0" fmla="*/ 0 h 2857500"/>
              <a:gd name="connsiteX1" fmla="*/ 1569027 w 1569027"/>
              <a:gd name="connsiteY1" fmla="*/ 0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569027"/>
              <a:gd name="connsiteY0" fmla="*/ 0 h 2857500"/>
              <a:gd name="connsiteX1" fmla="*/ 1558636 w 1569027"/>
              <a:gd name="connsiteY1" fmla="*/ 467591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610767"/>
              <a:gd name="connsiteY0" fmla="*/ 0 h 2857500"/>
              <a:gd name="connsiteX1" fmla="*/ 1610590 w 1610767"/>
              <a:gd name="connsiteY1" fmla="*/ 477982 h 2857500"/>
              <a:gd name="connsiteX2" fmla="*/ 1569027 w 1610767"/>
              <a:gd name="connsiteY2" fmla="*/ 2857500 h 2857500"/>
              <a:gd name="connsiteX3" fmla="*/ 0 w 1610767"/>
              <a:gd name="connsiteY3" fmla="*/ 2857500 h 2857500"/>
              <a:gd name="connsiteX4" fmla="*/ 0 w 1610767"/>
              <a:gd name="connsiteY4" fmla="*/ 0 h 285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0767" h="2857500">
                <a:moveTo>
                  <a:pt x="0" y="0"/>
                </a:moveTo>
                <a:lnTo>
                  <a:pt x="1610590" y="477982"/>
                </a:lnTo>
                <a:cubicBezTo>
                  <a:pt x="1614054" y="1274618"/>
                  <a:pt x="1565563" y="2060864"/>
                  <a:pt x="1569027" y="2857500"/>
                </a:cubicBezTo>
                <a:lnTo>
                  <a:pt x="0" y="285750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4" name="Rectángulo 4">
            <a:extLst>
              <a:ext uri="{FF2B5EF4-FFF2-40B4-BE49-F238E27FC236}">
                <a16:creationId xmlns="" xmlns:a16="http://schemas.microsoft.com/office/drawing/2014/main" id="{A3F9223B-685F-2843-9227-57F23C3FCEB4}"/>
              </a:ext>
            </a:extLst>
          </p:cNvPr>
          <p:cNvSpPr/>
          <p:nvPr userDrawn="1"/>
        </p:nvSpPr>
        <p:spPr>
          <a:xfrm>
            <a:off x="7596338" y="2036622"/>
            <a:ext cx="757955" cy="3595255"/>
          </a:xfrm>
          <a:custGeom>
            <a:avLst/>
            <a:gdLst>
              <a:gd name="connsiteX0" fmla="*/ 0 w 985405"/>
              <a:gd name="connsiteY0" fmla="*/ 0 h 3595255"/>
              <a:gd name="connsiteX1" fmla="*/ 985405 w 985405"/>
              <a:gd name="connsiteY1" fmla="*/ 0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  <a:gd name="connsiteX0" fmla="*/ 0 w 985405"/>
              <a:gd name="connsiteY0" fmla="*/ 0 h 3595255"/>
              <a:gd name="connsiteX1" fmla="*/ 985405 w 985405"/>
              <a:gd name="connsiteY1" fmla="*/ 259773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5405" h="3595255">
                <a:moveTo>
                  <a:pt x="0" y="0"/>
                </a:moveTo>
                <a:lnTo>
                  <a:pt x="985405" y="259773"/>
                </a:lnTo>
                <a:lnTo>
                  <a:pt x="985405" y="3595255"/>
                </a:lnTo>
                <a:lnTo>
                  <a:pt x="0" y="359525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5" name="Rectángulo 8">
            <a:extLst>
              <a:ext uri="{FF2B5EF4-FFF2-40B4-BE49-F238E27FC236}">
                <a16:creationId xmlns="" xmlns:a16="http://schemas.microsoft.com/office/drawing/2014/main" id="{3E974AAD-8F9B-2E42-A5FB-13D764EAA100}"/>
              </a:ext>
            </a:extLst>
          </p:cNvPr>
          <p:cNvSpPr/>
          <p:nvPr userDrawn="1"/>
        </p:nvSpPr>
        <p:spPr>
          <a:xfrm>
            <a:off x="8244408" y="966356"/>
            <a:ext cx="1037271" cy="4665519"/>
          </a:xfrm>
          <a:custGeom>
            <a:avLst/>
            <a:gdLst>
              <a:gd name="connsiteX0" fmla="*/ 0 w 1289338"/>
              <a:gd name="connsiteY0" fmla="*/ 0 h 4665519"/>
              <a:gd name="connsiteX1" fmla="*/ 1289338 w 1289338"/>
              <a:gd name="connsiteY1" fmla="*/ 0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  <a:gd name="connsiteX0" fmla="*/ 0 w 1289338"/>
              <a:gd name="connsiteY0" fmla="*/ 0 h 4665519"/>
              <a:gd name="connsiteX1" fmla="*/ 1278947 w 1289338"/>
              <a:gd name="connsiteY1" fmla="*/ 394854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9338" h="4665519">
                <a:moveTo>
                  <a:pt x="0" y="0"/>
                </a:moveTo>
                <a:lnTo>
                  <a:pt x="1278947" y="394854"/>
                </a:lnTo>
                <a:cubicBezTo>
                  <a:pt x="1282411" y="1818409"/>
                  <a:pt x="1285874" y="3241964"/>
                  <a:pt x="1289338" y="4665519"/>
                </a:cubicBezTo>
                <a:lnTo>
                  <a:pt x="0" y="46655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pic>
        <p:nvPicPr>
          <p:cNvPr id="6" name="Imagen 5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83994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=""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1194691"/>
            <a:ext cx="5213948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=""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="" xmlns:a16="http://schemas.microsoft.com/office/drawing/2014/main" id="{5B101F9E-64AF-FC48-B2A1-F70779554AB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22403442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=""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2" y="1194691"/>
            <a:ext cx="5203557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=""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1A3B47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1A3B47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="" xmlns:a16="http://schemas.microsoft.com/office/drawing/2014/main" id="{78611A90-5661-7849-85C4-60F38E37590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44121397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=""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=""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1A3B47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1A3B47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="" xmlns:a16="http://schemas.microsoft.com/office/drawing/2014/main" id="{57625A35-6F69-D543-BA04-C64550EF3B0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01141478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parata n1. 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=""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=""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="" xmlns:a16="http://schemas.microsoft.com/office/drawing/2014/main" id="{26E4C2C5-0D36-E34C-9E34-75AB96E1F27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52724864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parata n1. 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=""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=""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="" xmlns:a16="http://schemas.microsoft.com/office/drawing/2014/main" id="{52231655-E814-554D-A77B-76AE9E4B8F3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35443851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parata n1.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=""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=""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="" xmlns:a16="http://schemas.microsoft.com/office/drawing/2014/main" id="{A23CE7FB-CF5A-CA42-B78E-69EC6A848FB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53056202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parata n1. 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=""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=""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="" xmlns:a16="http://schemas.microsoft.com/office/drawing/2014/main" id="{881361F9-92A8-6949-BEF9-77B573EB2B5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38403797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parata n1. 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=""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=""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="" xmlns:a16="http://schemas.microsoft.com/office/drawing/2014/main" id="{74E9E540-B7BF-4344-8072-B7008201BE2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12114008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=""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17" name="Forma libre 16">
            <a:extLst>
              <a:ext uri="{FF2B5EF4-FFF2-40B4-BE49-F238E27FC236}">
                <a16:creationId xmlns=""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 dirty="0">
              <a:solidFill>
                <a:srgbClr val="FFFFFF"/>
              </a:solidFill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=""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="" xmlns:a16="http://schemas.microsoft.com/office/drawing/2014/main" id="{760C3CE1-1E28-6546-9D6D-A09B9CDA199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74236043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=""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17" name="Forma libre 16">
            <a:extLst>
              <a:ext uri="{FF2B5EF4-FFF2-40B4-BE49-F238E27FC236}">
                <a16:creationId xmlns=""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 dirty="0">
              <a:solidFill>
                <a:srgbClr val="FFFFFF"/>
              </a:solidFill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=""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1A3B47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1A3B47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="" xmlns:a16="http://schemas.microsoft.com/office/drawing/2014/main" id="{DEC9B28E-6B7A-0E4E-B90F-9C217C75299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3950214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1_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=""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17" name="Forma libre 16">
            <a:extLst>
              <a:ext uri="{FF2B5EF4-FFF2-40B4-BE49-F238E27FC236}">
                <a16:creationId xmlns=""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 dirty="0">
              <a:solidFill>
                <a:srgbClr val="FFFFFF"/>
              </a:solidFill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=""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1A3B47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1A3B47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="" xmlns:a16="http://schemas.microsoft.com/office/drawing/2014/main" id="{59D1119D-7D51-D44F-94AB-E6DA2AD81F7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1493168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=""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17" name="Forma libre 16">
            <a:extLst>
              <a:ext uri="{FF2B5EF4-FFF2-40B4-BE49-F238E27FC236}">
                <a16:creationId xmlns=""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 dirty="0">
              <a:solidFill>
                <a:srgbClr val="FFFFFF"/>
              </a:solidFill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=""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11419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="" xmlns:a16="http://schemas.microsoft.com/office/drawing/2014/main" id="{A1B5AB55-B564-F54E-A43A-49F65087AAE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83654391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=""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17" name="Forma libre 16">
            <a:extLst>
              <a:ext uri="{FF2B5EF4-FFF2-40B4-BE49-F238E27FC236}">
                <a16:creationId xmlns=""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 dirty="0">
              <a:solidFill>
                <a:srgbClr val="FFFFFF"/>
              </a:solidFill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=""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="" xmlns:a16="http://schemas.microsoft.com/office/drawing/2014/main" id="{AF48F91E-AAFB-524A-95AE-FEB5DBF353F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12065612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=""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17" name="Forma libre 16">
            <a:extLst>
              <a:ext uri="{FF2B5EF4-FFF2-40B4-BE49-F238E27FC236}">
                <a16:creationId xmlns=""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 dirty="0">
              <a:solidFill>
                <a:srgbClr val="FFFFFF"/>
              </a:solidFill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=""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="" xmlns:a16="http://schemas.microsoft.com/office/drawing/2014/main" id="{FC254CD5-68FD-894C-AC6F-D3DF03A43FE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86933371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=""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17" name="Forma libre 16">
            <a:extLst>
              <a:ext uri="{FF2B5EF4-FFF2-40B4-BE49-F238E27FC236}">
                <a16:creationId xmlns=""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 dirty="0">
              <a:solidFill>
                <a:srgbClr val="FFFFFF"/>
              </a:solidFill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=""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="" xmlns:a16="http://schemas.microsoft.com/office/drawing/2014/main" id="{28F0CE16-977C-DF45-B8D7-297950F18BF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8431375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=""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17" name="Forma libre 16">
            <a:extLst>
              <a:ext uri="{FF2B5EF4-FFF2-40B4-BE49-F238E27FC236}">
                <a16:creationId xmlns=""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 dirty="0">
              <a:solidFill>
                <a:srgbClr val="FFFFFF"/>
              </a:solidFill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=""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="" xmlns:a16="http://schemas.microsoft.com/office/drawing/2014/main" id="{22E0AD7B-150C-EB41-978F-26BBDF5F422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80555796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icpal_Gri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44046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1A3B47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1A3B47"/>
              </a:solidFill>
            </a:endParaRPr>
          </a:p>
        </p:txBody>
      </p:sp>
      <p:pic>
        <p:nvPicPr>
          <p:cNvPr id="17" name="Imagen 16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21818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Pie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44046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423">
              <a:buClrTx/>
              <a:buFontTx/>
              <a:buNone/>
              <a:defRPr/>
            </a:pPr>
            <a:fld id="{A5078871-D93F-4D40-B540-DC74CFDF655C}" type="slidenum">
              <a:rPr lang="es-ES" sz="800" smtClean="0">
                <a:solidFill>
                  <a:srgbClr val="1A3B47"/>
                </a:solidFill>
              </a:rPr>
              <a:pPr algn="r" defTabSz="685423">
                <a:buClrTx/>
                <a:buFontTx/>
                <a:buNone/>
                <a:defRPr/>
              </a:pPr>
              <a:t>‹#›</a:t>
            </a:fld>
            <a:endParaRPr lang="es-ES" sz="800" dirty="0">
              <a:solidFill>
                <a:srgbClr val="1A3B47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7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  <a:latin typeface="Soho Gothic Pro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92144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Grafi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44046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=""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2001" y="4879121"/>
            <a:ext cx="644401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3567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marill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37371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423">
              <a:buClrTx/>
              <a:buFontTx/>
              <a:buNone/>
              <a:defRPr/>
            </a:pPr>
            <a:fld id="{A5078871-D93F-4D40-B540-DC74CFDF655C}" type="slidenum">
              <a:rPr lang="es-ES" sz="800" smtClean="0">
                <a:solidFill>
                  <a:srgbClr val="1A3B47"/>
                </a:solidFill>
              </a:rPr>
              <a:pPr algn="r" defTabSz="685423">
                <a:buClrTx/>
                <a:buFontTx/>
                <a:buNone/>
                <a:defRPr/>
              </a:pPr>
              <a:t>‹#›</a:t>
            </a:fld>
            <a:endParaRPr lang="es-ES" sz="800" dirty="0">
              <a:solidFill>
                <a:srgbClr val="1A3B47"/>
              </a:solidFill>
            </a:endParaRPr>
          </a:p>
        </p:txBody>
      </p:sp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  <a:latin typeface="Soho Gothic Pro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37264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Naranj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37374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=""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2001" y="4879121"/>
            <a:ext cx="644401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99035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Ros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37371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=""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2001" y="4879121"/>
            <a:ext cx="644401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29848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Ver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37371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=""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2001" y="4879121"/>
            <a:ext cx="644401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64875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zu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37374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=""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2001" y="4879121"/>
            <a:ext cx="644401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53861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Morad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/>
              <a:sym typeface="Playfair Display" panose="0000050000000000000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pic>
        <p:nvPicPr>
          <p:cNvPr id="19" name="Imagen 18">
            <a:extLst>
              <a:ext uri="{FF2B5EF4-FFF2-40B4-BE49-F238E27FC236}">
                <a16:creationId xmlns=""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52001" y="4879121"/>
            <a:ext cx="644401" cy="127857"/>
          </a:xfrm>
          <a:prstGeom prst="rect">
            <a:avLst/>
          </a:prstGeom>
        </p:spPr>
      </p:pic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37371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8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80586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anj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1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=""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=""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406430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anj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5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=""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=""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637203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arillo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9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22"/>
            <a:ext cx="8641175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41175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16" name="Forma libre 15">
              <a:extLst>
                <a:ext uri="{FF2B5EF4-FFF2-40B4-BE49-F238E27FC236}">
                  <a16:creationId xmlns=""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7" name="Triángulo 10">
              <a:extLst>
                <a:ext uri="{FF2B5EF4-FFF2-40B4-BE49-F238E27FC236}">
                  <a16:creationId xmlns=""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20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008838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arillo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3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22"/>
            <a:ext cx="8641175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41175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16" name="Forma libre 15">
              <a:extLst>
                <a:ext uri="{FF2B5EF4-FFF2-40B4-BE49-F238E27FC236}">
                  <a16:creationId xmlns=""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7" name="Triángulo 10">
              <a:extLst>
                <a:ext uri="{FF2B5EF4-FFF2-40B4-BE49-F238E27FC236}">
                  <a16:creationId xmlns=""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sp>
        <p:nvSpPr>
          <p:cNvPr id="20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960899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7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=""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=""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08715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1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=""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=""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915038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de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5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=""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=""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140884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de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9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=""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=""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066735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ul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3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=""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=""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59808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ul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7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=""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=""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118732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l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1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=""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=""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130551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l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5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=""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=""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15244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ortada capítulo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52089"/>
          </a:xfrm>
          <a:prstGeom prst="rect">
            <a:avLst/>
          </a:prstGeom>
        </p:spPr>
      </p:pic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359533" y="2679762"/>
            <a:ext cx="5557145" cy="69158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s-ES" dirty="0" smtClean="0"/>
              <a:t>Haga clic para modificar el </a:t>
            </a:r>
            <a:br>
              <a:rPr lang="es-ES" dirty="0" smtClean="0"/>
            </a:br>
            <a:r>
              <a:rPr lang="es-ES" dirty="0" smtClean="0"/>
              <a:t>estilo de título del patrón</a:t>
            </a:r>
            <a:endParaRPr lang="es-ES" dirty="0"/>
          </a:p>
        </p:txBody>
      </p:sp>
      <p:sp>
        <p:nvSpPr>
          <p:cNvPr id="8" name="Marcador de texto 7"/>
          <p:cNvSpPr>
            <a:spLocks noGrp="1"/>
          </p:cNvSpPr>
          <p:nvPr>
            <p:ph type="body" sz="quarter" idx="14" hasCustomPrompt="1"/>
          </p:nvPr>
        </p:nvSpPr>
        <p:spPr>
          <a:xfrm>
            <a:off x="359532" y="927704"/>
            <a:ext cx="2990851" cy="77304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4650">
                <a:solidFill>
                  <a:schemeClr val="tx1"/>
                </a:solidFill>
              </a:defRPr>
            </a:lvl1pPr>
            <a:lvl2pPr marL="339978" indent="0">
              <a:buNone/>
              <a:defRPr/>
            </a:lvl2pPr>
            <a:lvl3pPr marL="678491" indent="0">
              <a:buNone/>
              <a:defRPr/>
            </a:lvl3pPr>
            <a:lvl4pPr marL="1018469" indent="0">
              <a:buNone/>
              <a:defRPr/>
            </a:lvl4pPr>
            <a:lvl5pPr marL="1348187" indent="0">
              <a:buNone/>
              <a:defRPr/>
            </a:lvl5pPr>
          </a:lstStyle>
          <a:p>
            <a:pPr lvl="0"/>
            <a:r>
              <a:rPr lang="es-ES_tradnl" dirty="0" smtClean="0"/>
              <a:t>00</a:t>
            </a:r>
            <a:endParaRPr lang="es-ES" dirty="0"/>
          </a:p>
        </p:txBody>
      </p:sp>
      <p:sp>
        <p:nvSpPr>
          <p:cNvPr id="7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59533" y="3780420"/>
            <a:ext cx="4343195" cy="1414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350">
                <a:solidFill>
                  <a:schemeClr val="tx1"/>
                </a:solidFill>
                <a:latin typeface="Playfair Display" panose="00000500000000000000" pitchFamily="2" charset="0"/>
                <a:cs typeface="Playfair Display" panose="00000500000000000000" pitchFamily="2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457622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ólo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2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9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ángulo 8"/>
          <p:cNvSpPr/>
          <p:nvPr userDrawn="1"/>
        </p:nvSpPr>
        <p:spPr>
          <a:xfrm>
            <a:off x="-11700" y="0"/>
            <a:ext cx="9155700" cy="1039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349" kern="120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59569" y="368499"/>
            <a:ext cx="8532911" cy="475059"/>
          </a:xfrm>
          <a:prstGeom prst="rect">
            <a:avLst/>
          </a:prstGeom>
        </p:spPr>
        <p:txBody>
          <a:bodyPr/>
          <a:lstStyle>
            <a:lvl1pPr>
              <a:defRPr lang="es-ES" sz="1650" b="0" kern="1200" baseline="0" dirty="0">
                <a:solidFill>
                  <a:schemeClr val="bg1"/>
                </a:solidFill>
                <a:latin typeface="Soho Gothic Pro Light" panose="020B0303030504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lvl="0" algn="l" defTabSz="633062" rtl="0" eaLnBrk="1" latinLnBrk="0" hangingPunct="1">
              <a:spcBef>
                <a:spcPct val="0"/>
              </a:spcBef>
              <a:buNone/>
              <a:tabLst>
                <a:tab pos="3362325" algn="l"/>
              </a:tabLst>
              <a:defRPr/>
            </a:pPr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59569" y="249492"/>
            <a:ext cx="8539181" cy="1414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layfair Display" panose="00000500000000000000" pitchFamily="2" charset="0"/>
                <a:ea typeface="+mn-ea"/>
                <a:cs typeface="Playfair Display" panose="00000500000000000000" pitchFamily="2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63306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861897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ólo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3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ángulo 5"/>
          <p:cNvSpPr/>
          <p:nvPr userDrawn="1"/>
        </p:nvSpPr>
        <p:spPr>
          <a:xfrm>
            <a:off x="-11700" y="0"/>
            <a:ext cx="1991412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349" kern="120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59569" y="368499"/>
            <a:ext cx="1566137" cy="475059"/>
          </a:xfrm>
          <a:prstGeom prst="rect">
            <a:avLst/>
          </a:prstGeom>
        </p:spPr>
        <p:txBody>
          <a:bodyPr/>
          <a:lstStyle>
            <a:lvl1pPr>
              <a:defRPr lang="es-ES" sz="1650" b="0" kern="1200" baseline="0" dirty="0">
                <a:solidFill>
                  <a:schemeClr val="bg1"/>
                </a:solidFill>
                <a:latin typeface="Soho Gothic Pro Light" panose="020B0303030504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lvl="0" algn="l" defTabSz="633062" rtl="0" eaLnBrk="1" latinLnBrk="0" hangingPunct="1">
              <a:spcBef>
                <a:spcPct val="0"/>
              </a:spcBef>
              <a:buNone/>
              <a:tabLst>
                <a:tab pos="3362325" algn="l"/>
              </a:tabLst>
              <a:defRPr/>
            </a:pPr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sp>
        <p:nvSpPr>
          <p:cNvPr id="3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59569" y="249492"/>
            <a:ext cx="1566137" cy="1414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lang="es-ES" sz="750" kern="1200" dirty="0" smtClean="0">
                <a:solidFill>
                  <a:schemeClr val="bg1"/>
                </a:solidFill>
                <a:latin typeface="Playfair Display" panose="00000500000000000000" pitchFamily="2" charset="0"/>
                <a:ea typeface="+mn-ea"/>
                <a:cs typeface="Playfair Display" panose="00000500000000000000" pitchFamily="2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lvl="0" indent="0" algn="just" defTabSz="633062" rtl="0" eaLnBrk="1" latinLnBrk="0" hangingPunct="1">
              <a:spcBef>
                <a:spcPct val="20000"/>
              </a:spcBef>
              <a:buClr>
                <a:srgbClr val="3D3935">
                  <a:lumMod val="75000"/>
                </a:srgbClr>
              </a:buClr>
              <a:buFont typeface="Arial" pitchFamily="34" charset="0"/>
              <a:buNone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175657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lo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89438" y="259984"/>
            <a:ext cx="8338038" cy="583574"/>
          </a:xfrm>
        </p:spPr>
        <p:txBody>
          <a:bodyPr/>
          <a:lstStyle/>
          <a:p>
            <a:r>
              <a:rPr lang="es-ES_tradnl" smtClean="0"/>
              <a:t>Clic para editar título</a:t>
            </a:r>
            <a:endParaRPr lang="es-E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486256" y="156006"/>
            <a:ext cx="8341223" cy="141480"/>
          </a:xfrm>
        </p:spPr>
        <p:txBody>
          <a:bodyPr anchor="ctr">
            <a:noAutofit/>
          </a:bodyPr>
          <a:lstStyle>
            <a:lvl1pPr marL="0" indent="0">
              <a:buNone/>
              <a:defRPr sz="900">
                <a:solidFill>
                  <a:schemeClr val="accent5"/>
                </a:solidFill>
                <a:latin typeface="Playfair Display" panose="00000500000000000000" pitchFamily="2" charset="0"/>
                <a:cs typeface="Playfair Display" panose="00000500000000000000" pitchFamily="2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_tradnl" dirty="0" smtClean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178485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00">
        <p14:prism/>
      </p:transition>
    </mc:Choice>
    <mc:Fallback xmlns="">
      <p:transition spd="slow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Limp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012617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 n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7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5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76733057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Only with index hea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73062" y="273911"/>
            <a:ext cx="8597901" cy="703421"/>
          </a:xfrm>
          <a:prstGeom prst="rect">
            <a:avLst/>
          </a:prstGeom>
        </p:spPr>
        <p:txBody>
          <a:bodyPr lIns="68544" tIns="34289" rIns="68544" bIns="34289"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273051" y="26616"/>
            <a:ext cx="6508750" cy="220891"/>
          </a:xfrm>
          <a:prstGeom prst="rect">
            <a:avLst/>
          </a:prstGeom>
          <a:noFill/>
        </p:spPr>
        <p:txBody>
          <a:bodyPr wrap="square" lIns="0" tIns="34289" rIns="68544" bIns="34289" rtlCol="0" anchor="ctr">
            <a:noAutofit/>
          </a:bodyPr>
          <a:lstStyle>
            <a:lvl1pPr>
              <a:defRPr lang="en-US" sz="825" b="0" i="0" kern="1200" dirty="0" smtClean="0">
                <a:solidFill>
                  <a:schemeClr val="bg1"/>
                </a:solidFill>
                <a:latin typeface="Calibri Light"/>
                <a:ea typeface="+mn-ea"/>
                <a:cs typeface="Arial" pitchFamily="34" charset="0"/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sz="1050" dirty="0" smtClean="0">
                <a:solidFill>
                  <a:schemeClr val="tx1"/>
                </a:solidFill>
              </a:defRPr>
            </a:lvl3pPr>
            <a:lvl4pPr>
              <a:defRPr lang="en-US" sz="1050" dirty="0" smtClean="0">
                <a:solidFill>
                  <a:schemeClr val="tx1"/>
                </a:solidFill>
              </a:defRPr>
            </a:lvl4pPr>
            <a:lvl5pPr>
              <a:defRPr lang="en-US" sz="105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272901" y="742950"/>
            <a:ext cx="8610600" cy="342900"/>
          </a:xfrm>
          <a:prstGeom prst="rect">
            <a:avLst/>
          </a:prstGeom>
        </p:spPr>
        <p:txBody>
          <a:bodyPr lIns="68544" tIns="34289" rIns="68544" bIns="34289"/>
          <a:lstStyle>
            <a:lvl1pPr>
              <a:defRPr sz="1125" cap="all" baseline="0"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39454658"/>
      </p:ext>
    </p:extLst>
  </p:cSld>
  <p:clrMapOvr>
    <a:masterClrMapping/>
  </p:clrMapOvr>
  <p:transition spd="slow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5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800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19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+mn-lt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9" name="Grupo 8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10" name="Forma libre 9">
              <a:extLst>
                <a:ext uri="{FF2B5EF4-FFF2-40B4-BE49-F238E27FC236}">
                  <a16:creationId xmlns=""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1" name="Triángulo 10">
              <a:extLst>
                <a:ext uri="{FF2B5EF4-FFF2-40B4-BE49-F238E27FC236}">
                  <a16:creationId xmlns=""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sp>
        <p:nvSpPr>
          <p:cNvPr id="12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7174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438101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2914650"/>
            <a:ext cx="9144000" cy="2228850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65000"/>
                  <a:alpha val="53000"/>
                </a:schemeClr>
              </a:gs>
              <a:gs pos="0">
                <a:schemeClr val="bg1">
                  <a:lumMod val="9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rtlCol="0" anchor="ctr"/>
          <a:lstStyle/>
          <a:p>
            <a:pPr algn="ctr" defTabSz="914240">
              <a:buClrTx/>
              <a:buFontTx/>
              <a:buNone/>
            </a:pPr>
            <a:endParaRPr lang="en-US" sz="1800" kern="1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915338"/>
            <a:ext cx="7772400" cy="458115"/>
          </a:xfrm>
        </p:spPr>
        <p:txBody>
          <a:bodyPr/>
          <a:lstStyle>
            <a:lvl1pPr algn="ctr">
              <a:defRPr lang="en-US" sz="30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299265"/>
            <a:ext cx="6400800" cy="573330"/>
          </a:xfrm>
        </p:spPr>
        <p:txBody>
          <a:bodyPr>
            <a:normAutofit/>
          </a:bodyPr>
          <a:lstStyle>
            <a:lvl1pPr marL="0" indent="0" algn="ctr">
              <a:buNone/>
              <a:defRPr lang="en-US" sz="18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1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78D6DB-6798-42D2-B9AD-FC6F1C72FC3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20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EDE275-BE14-4364-AEA2-5F5667C0FD4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8707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20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130419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20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00357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975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25">
                <a:solidFill>
                  <a:schemeClr val="tx1">
                    <a:tint val="75000"/>
                  </a:schemeClr>
                </a:solidFill>
              </a:defRPr>
            </a:lvl1pPr>
            <a:lvl2pPr marL="45712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40" indent="0">
              <a:buNone/>
              <a:defRPr sz="1575">
                <a:solidFill>
                  <a:schemeClr val="tx1">
                    <a:tint val="75000"/>
                  </a:schemeClr>
                </a:solidFill>
              </a:defRPr>
            </a:lvl3pPr>
            <a:lvl4pPr marL="1371360" indent="0">
              <a:buNone/>
              <a:defRPr sz="1425">
                <a:solidFill>
                  <a:schemeClr val="tx1">
                    <a:tint val="75000"/>
                  </a:schemeClr>
                </a:solidFill>
              </a:defRPr>
            </a:lvl4pPr>
            <a:lvl5pPr marL="1828480" indent="0">
              <a:buNone/>
              <a:defRPr sz="1425">
                <a:solidFill>
                  <a:schemeClr val="tx1">
                    <a:tint val="75000"/>
                  </a:schemeClr>
                </a:solidFill>
              </a:defRPr>
            </a:lvl5pPr>
            <a:lvl6pPr marL="2285600" indent="0">
              <a:buNone/>
              <a:defRPr sz="1425">
                <a:solidFill>
                  <a:schemeClr val="tx1">
                    <a:tint val="75000"/>
                  </a:schemeClr>
                </a:solidFill>
              </a:defRPr>
            </a:lvl6pPr>
            <a:lvl7pPr marL="2742720" indent="0">
              <a:buNone/>
              <a:defRPr sz="1425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425">
                <a:solidFill>
                  <a:schemeClr val="tx1">
                    <a:tint val="75000"/>
                  </a:schemeClr>
                </a:solidFill>
              </a:defRPr>
            </a:lvl8pPr>
            <a:lvl9pPr marL="3656960" indent="0">
              <a:buNone/>
              <a:defRPr sz="142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20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34382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775"/>
            </a:lvl1pPr>
            <a:lvl2pPr>
              <a:defRPr sz="2400"/>
            </a:lvl2pPr>
            <a:lvl3pPr>
              <a:defRPr sz="2025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775"/>
            </a:lvl1pPr>
            <a:lvl2pPr>
              <a:defRPr sz="2400"/>
            </a:lvl2pPr>
            <a:lvl3pPr>
              <a:defRPr sz="2025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20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443389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20" indent="0">
              <a:buNone/>
              <a:defRPr sz="2025" b="1"/>
            </a:lvl2pPr>
            <a:lvl3pPr marL="914240" indent="0">
              <a:buNone/>
              <a:defRPr sz="1800" b="1"/>
            </a:lvl3pPr>
            <a:lvl4pPr marL="1371360" indent="0">
              <a:buNone/>
              <a:defRPr sz="1575" b="1"/>
            </a:lvl4pPr>
            <a:lvl5pPr marL="1828480" indent="0">
              <a:buNone/>
              <a:defRPr sz="1575" b="1"/>
            </a:lvl5pPr>
            <a:lvl6pPr marL="2285600" indent="0">
              <a:buNone/>
              <a:defRPr sz="1575" b="1"/>
            </a:lvl6pPr>
            <a:lvl7pPr marL="2742720" indent="0">
              <a:buNone/>
              <a:defRPr sz="1575" b="1"/>
            </a:lvl7pPr>
            <a:lvl8pPr marL="3199840" indent="0">
              <a:buNone/>
              <a:defRPr sz="1575" b="1"/>
            </a:lvl8pPr>
            <a:lvl9pPr marL="3656960" indent="0">
              <a:buNone/>
              <a:defRPr sz="1575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25"/>
            </a:lvl2pPr>
            <a:lvl3pPr>
              <a:defRPr sz="1800"/>
            </a:lvl3pPr>
            <a:lvl4pPr>
              <a:defRPr sz="1575"/>
            </a:lvl4pPr>
            <a:lvl5pPr>
              <a:defRPr sz="1575"/>
            </a:lvl5pPr>
            <a:lvl6pPr>
              <a:defRPr sz="1575"/>
            </a:lvl6pPr>
            <a:lvl7pPr>
              <a:defRPr sz="1575"/>
            </a:lvl7pPr>
            <a:lvl8pPr>
              <a:defRPr sz="1575"/>
            </a:lvl8pPr>
            <a:lvl9pPr>
              <a:defRPr sz="157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20" indent="0">
              <a:buNone/>
              <a:defRPr sz="2025" b="1"/>
            </a:lvl2pPr>
            <a:lvl3pPr marL="914240" indent="0">
              <a:buNone/>
              <a:defRPr sz="1800" b="1"/>
            </a:lvl3pPr>
            <a:lvl4pPr marL="1371360" indent="0">
              <a:buNone/>
              <a:defRPr sz="1575" b="1"/>
            </a:lvl4pPr>
            <a:lvl5pPr marL="1828480" indent="0">
              <a:buNone/>
              <a:defRPr sz="1575" b="1"/>
            </a:lvl5pPr>
            <a:lvl6pPr marL="2285600" indent="0">
              <a:buNone/>
              <a:defRPr sz="1575" b="1"/>
            </a:lvl6pPr>
            <a:lvl7pPr marL="2742720" indent="0">
              <a:buNone/>
              <a:defRPr sz="1575" b="1"/>
            </a:lvl7pPr>
            <a:lvl8pPr marL="3199840" indent="0">
              <a:buNone/>
              <a:defRPr sz="1575" b="1"/>
            </a:lvl8pPr>
            <a:lvl9pPr marL="3656960" indent="0">
              <a:buNone/>
              <a:defRPr sz="1575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25"/>
            </a:lvl2pPr>
            <a:lvl3pPr>
              <a:defRPr sz="1800"/>
            </a:lvl3pPr>
            <a:lvl4pPr>
              <a:defRPr sz="1575"/>
            </a:lvl4pPr>
            <a:lvl5pPr>
              <a:defRPr sz="1575"/>
            </a:lvl5pPr>
            <a:lvl6pPr>
              <a:defRPr sz="1575"/>
            </a:lvl6pPr>
            <a:lvl7pPr>
              <a:defRPr sz="1575"/>
            </a:lvl7pPr>
            <a:lvl8pPr>
              <a:defRPr sz="1575"/>
            </a:lvl8pPr>
            <a:lvl9pPr>
              <a:defRPr sz="157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20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157622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7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20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99638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20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722693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04787"/>
            <a:ext cx="3008313" cy="871538"/>
          </a:xfrm>
        </p:spPr>
        <p:txBody>
          <a:bodyPr anchor="b"/>
          <a:lstStyle>
            <a:lvl1pPr algn="l">
              <a:defRPr sz="2025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</p:spPr>
        <p:txBody>
          <a:bodyPr/>
          <a:lstStyle>
            <a:lvl1pPr>
              <a:defRPr sz="3225"/>
            </a:lvl1pPr>
            <a:lvl2pPr>
              <a:defRPr sz="2775"/>
            </a:lvl2pPr>
            <a:lvl3pPr>
              <a:defRPr sz="2400"/>
            </a:lvl3pPr>
            <a:lvl4pPr>
              <a:defRPr sz="2025"/>
            </a:lvl4pPr>
            <a:lvl5pPr>
              <a:defRPr sz="2025"/>
            </a:lvl5pPr>
            <a:lvl6pPr>
              <a:defRPr sz="2025"/>
            </a:lvl6pPr>
            <a:lvl7pPr>
              <a:defRPr sz="2025"/>
            </a:lvl7pPr>
            <a:lvl8pPr>
              <a:defRPr sz="2025"/>
            </a:lvl8pPr>
            <a:lvl9pPr>
              <a:defRPr sz="20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</p:spPr>
        <p:txBody>
          <a:bodyPr/>
          <a:lstStyle>
            <a:lvl1pPr marL="0" indent="0">
              <a:buNone/>
              <a:defRPr sz="1425"/>
            </a:lvl1pPr>
            <a:lvl2pPr marL="457120" indent="0">
              <a:buNone/>
              <a:defRPr sz="1200"/>
            </a:lvl2pPr>
            <a:lvl3pPr marL="914240" indent="0">
              <a:buNone/>
              <a:defRPr sz="975"/>
            </a:lvl3pPr>
            <a:lvl4pPr marL="1371360" indent="0">
              <a:buNone/>
              <a:defRPr sz="900"/>
            </a:lvl4pPr>
            <a:lvl5pPr marL="1828480" indent="0">
              <a:buNone/>
              <a:defRPr sz="900"/>
            </a:lvl5pPr>
            <a:lvl6pPr marL="2285600" indent="0">
              <a:buNone/>
              <a:defRPr sz="900"/>
            </a:lvl6pPr>
            <a:lvl7pPr marL="2742720" indent="0">
              <a:buNone/>
              <a:defRPr sz="900"/>
            </a:lvl7pPr>
            <a:lvl8pPr marL="3199840" indent="0">
              <a:buNone/>
              <a:defRPr sz="900"/>
            </a:lvl8pPr>
            <a:lvl9pPr marL="365696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20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091691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25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25"/>
            </a:lvl1pPr>
            <a:lvl2pPr marL="457120" indent="0">
              <a:buNone/>
              <a:defRPr sz="2775"/>
            </a:lvl2pPr>
            <a:lvl3pPr marL="914240" indent="0">
              <a:buNone/>
              <a:defRPr sz="2400"/>
            </a:lvl3pPr>
            <a:lvl4pPr marL="1371360" indent="0">
              <a:buNone/>
              <a:defRPr sz="2025"/>
            </a:lvl4pPr>
            <a:lvl5pPr marL="1828480" indent="0">
              <a:buNone/>
              <a:defRPr sz="2025"/>
            </a:lvl5pPr>
            <a:lvl6pPr marL="2285600" indent="0">
              <a:buNone/>
              <a:defRPr sz="2025"/>
            </a:lvl6pPr>
            <a:lvl7pPr marL="2742720" indent="0">
              <a:buNone/>
              <a:defRPr sz="2025"/>
            </a:lvl7pPr>
            <a:lvl8pPr marL="3199840" indent="0">
              <a:buNone/>
              <a:defRPr sz="2025"/>
            </a:lvl8pPr>
            <a:lvl9pPr marL="3656960" indent="0">
              <a:buNone/>
              <a:defRPr sz="2025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</p:spPr>
        <p:txBody>
          <a:bodyPr/>
          <a:lstStyle>
            <a:lvl1pPr marL="0" indent="0">
              <a:buNone/>
              <a:defRPr sz="1425"/>
            </a:lvl1pPr>
            <a:lvl2pPr marL="457120" indent="0">
              <a:buNone/>
              <a:defRPr sz="1200"/>
            </a:lvl2pPr>
            <a:lvl3pPr marL="914240" indent="0">
              <a:buNone/>
              <a:defRPr sz="975"/>
            </a:lvl3pPr>
            <a:lvl4pPr marL="1371360" indent="0">
              <a:buNone/>
              <a:defRPr sz="900"/>
            </a:lvl4pPr>
            <a:lvl5pPr marL="1828480" indent="0">
              <a:buNone/>
              <a:defRPr sz="900"/>
            </a:lvl5pPr>
            <a:lvl6pPr marL="2285600" indent="0">
              <a:buNone/>
              <a:defRPr sz="900"/>
            </a:lvl6pPr>
            <a:lvl7pPr marL="2742720" indent="0">
              <a:buNone/>
              <a:defRPr sz="900"/>
            </a:lvl7pPr>
            <a:lvl8pPr marL="3199840" indent="0">
              <a:buNone/>
              <a:defRPr sz="900"/>
            </a:lvl8pPr>
            <a:lvl9pPr marL="365696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20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618516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20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523009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20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812565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22611"/>
            <a:ext cx="7886700" cy="554292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="" xmlns:a16="http://schemas.microsoft.com/office/drawing/2014/main" id="{79C65CE8-4186-4EF3-A508-A12E5E686468}"/>
              </a:ext>
            </a:extLst>
          </p:cNvPr>
          <p:cNvGrpSpPr/>
          <p:nvPr userDrawn="1"/>
        </p:nvGrpSpPr>
        <p:grpSpPr>
          <a:xfrm>
            <a:off x="9415915" y="1"/>
            <a:ext cx="1235642" cy="1362074"/>
            <a:chOff x="12554553" y="1"/>
            <a:chExt cx="1647523" cy="1816099"/>
          </a:xfrm>
        </p:grpSpPr>
        <p:sp>
          <p:nvSpPr>
            <p:cNvPr id="4" name="Rectangle: Folded Corner 3">
              <a:extLst>
                <a:ext uri="{FF2B5EF4-FFF2-40B4-BE49-F238E27FC236}">
                  <a16:creationId xmlns="" xmlns:a16="http://schemas.microsoft.com/office/drawing/2014/main" id="{0A32BB05-B08C-4D73-BFF9-25A2D9328D4D}"/>
                </a:ext>
              </a:extLst>
            </p:cNvPr>
            <p:cNvSpPr/>
            <p:nvPr userDrawn="1"/>
          </p:nvSpPr>
          <p:spPr>
            <a:xfrm>
              <a:off x="12554553" y="1"/>
              <a:ext cx="1644047" cy="1816099"/>
            </a:xfrm>
            <a:prstGeom prst="foldedCorner">
              <a:avLst/>
            </a:prstGeom>
            <a:ln>
              <a:noFill/>
            </a:ln>
            <a:effectLst>
              <a:outerShdw blurRad="101600" dist="635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Ins="0" rtlCol="0" anchor="t"/>
            <a:lstStyle/>
            <a:p>
              <a:pPr>
                <a:buClrTx/>
                <a:buFontTx/>
                <a:buNone/>
              </a:pPr>
              <a:r>
                <a:rPr lang="en-US" sz="1050" kern="1200">
                  <a:solidFill>
                    <a:srgbClr val="F7931F">
                      <a:lumMod val="50000"/>
                    </a:srgbClr>
                  </a:solidFill>
                </a:rPr>
                <a:t>To insert your own icons*:</a:t>
              </a:r>
            </a:p>
            <a:p>
              <a:pPr>
                <a:buClrTx/>
                <a:buFontTx/>
                <a:buNone/>
              </a:pPr>
              <a:endParaRPr lang="en-US" sz="1050" kern="1200">
                <a:solidFill>
                  <a:srgbClr val="F7931F">
                    <a:lumMod val="50000"/>
                  </a:srgbClr>
                </a:solidFill>
              </a:endParaRPr>
            </a:p>
            <a:p>
              <a:pPr>
                <a:buClrTx/>
                <a:buFontTx/>
                <a:buNone/>
              </a:pPr>
              <a:r>
                <a:rPr lang="en-US" sz="1050" b="1" kern="1200">
                  <a:solidFill>
                    <a:srgbClr val="F7931F">
                      <a:lumMod val="50000"/>
                    </a:srgbClr>
                  </a:solidFill>
                </a:rPr>
                <a:t>Insert</a:t>
              </a:r>
              <a:r>
                <a:rPr lang="en-US" sz="1050" kern="1200">
                  <a:solidFill>
                    <a:srgbClr val="F7931F">
                      <a:lumMod val="50000"/>
                    </a:srgbClr>
                  </a:solidFill>
                </a:rPr>
                <a:t> &gt;&gt; </a:t>
              </a:r>
              <a:r>
                <a:rPr lang="en-US" sz="1050" b="1" kern="1200">
                  <a:solidFill>
                    <a:srgbClr val="F7931F">
                      <a:lumMod val="50000"/>
                    </a:srgbClr>
                  </a:solidFill>
                </a:rPr>
                <a:t>Icons</a:t>
              </a:r>
            </a:p>
            <a:p>
              <a:pPr>
                <a:buClrTx/>
                <a:buFontTx/>
                <a:buNone/>
              </a:pPr>
              <a:endParaRPr lang="en-US" sz="1050" kern="1200">
                <a:solidFill>
                  <a:srgbClr val="F7931F">
                    <a:lumMod val="50000"/>
                  </a:srgbClr>
                </a:solidFill>
              </a:endParaRPr>
            </a:p>
            <a:p>
              <a:pPr>
                <a:buClrTx/>
                <a:buFontTx/>
                <a:buNone/>
              </a:pPr>
              <a:r>
                <a:rPr lang="en-US" sz="900" i="1" kern="1200">
                  <a:solidFill>
                    <a:srgbClr val="F7931F">
                      <a:lumMod val="50000"/>
                    </a:srgbClr>
                  </a:solidFill>
                </a:rPr>
                <a:t>(*Only available to Office 365 subscribers)</a:t>
              </a:r>
            </a:p>
          </p:txBody>
        </p:sp>
        <p:pic>
          <p:nvPicPr>
            <p:cNvPr id="5" name="Picture 4">
              <a:extLst>
                <a:ext uri="{FF2B5EF4-FFF2-40B4-BE49-F238E27FC236}">
                  <a16:creationId xmlns="" xmlns:a16="http://schemas.microsoft.com/office/drawing/2014/main" id="{BC568985-A849-45B0-B77A-2F6998D822D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3802026" y="424090"/>
              <a:ext cx="400050" cy="6572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920498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resentationgo.com/" TargetMode="Externa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26" Type="http://schemas.openxmlformats.org/officeDocument/2006/relationships/slideLayout" Target="../slideLayouts/slideLayout60.xml"/><Relationship Id="rId39" Type="http://schemas.openxmlformats.org/officeDocument/2006/relationships/slideLayout" Target="../slideLayouts/slideLayout73.xml"/><Relationship Id="rId21" Type="http://schemas.openxmlformats.org/officeDocument/2006/relationships/slideLayout" Target="../slideLayouts/slideLayout55.xml"/><Relationship Id="rId34" Type="http://schemas.openxmlformats.org/officeDocument/2006/relationships/slideLayout" Target="../slideLayouts/slideLayout68.xml"/><Relationship Id="rId42" Type="http://schemas.openxmlformats.org/officeDocument/2006/relationships/slideLayout" Target="../slideLayouts/slideLayout76.xml"/><Relationship Id="rId47" Type="http://schemas.openxmlformats.org/officeDocument/2006/relationships/slideLayout" Target="../slideLayouts/slideLayout81.xml"/><Relationship Id="rId50" Type="http://schemas.openxmlformats.org/officeDocument/2006/relationships/slideLayout" Target="../slideLayouts/slideLayout84.xml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9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45.xml"/><Relationship Id="rId24" Type="http://schemas.openxmlformats.org/officeDocument/2006/relationships/slideLayout" Target="../slideLayouts/slideLayout58.xml"/><Relationship Id="rId32" Type="http://schemas.openxmlformats.org/officeDocument/2006/relationships/slideLayout" Target="../slideLayouts/slideLayout66.xml"/><Relationship Id="rId37" Type="http://schemas.openxmlformats.org/officeDocument/2006/relationships/slideLayout" Target="../slideLayouts/slideLayout71.xml"/><Relationship Id="rId40" Type="http://schemas.openxmlformats.org/officeDocument/2006/relationships/slideLayout" Target="../slideLayouts/slideLayout74.xml"/><Relationship Id="rId45" Type="http://schemas.openxmlformats.org/officeDocument/2006/relationships/slideLayout" Target="../slideLayouts/slideLayout79.xml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slideLayout" Target="../slideLayouts/slideLayout57.xml"/><Relationship Id="rId28" Type="http://schemas.openxmlformats.org/officeDocument/2006/relationships/slideLayout" Target="../slideLayouts/slideLayout62.xml"/><Relationship Id="rId36" Type="http://schemas.openxmlformats.org/officeDocument/2006/relationships/slideLayout" Target="../slideLayouts/slideLayout70.xml"/><Relationship Id="rId49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31" Type="http://schemas.openxmlformats.org/officeDocument/2006/relationships/slideLayout" Target="../slideLayouts/slideLayout65.xml"/><Relationship Id="rId44" Type="http://schemas.openxmlformats.org/officeDocument/2006/relationships/slideLayout" Target="../slideLayouts/slideLayout78.xml"/><Relationship Id="rId52" Type="http://schemas.openxmlformats.org/officeDocument/2006/relationships/theme" Target="../theme/theme5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slideLayout" Target="../slideLayouts/slideLayout56.xml"/><Relationship Id="rId27" Type="http://schemas.openxmlformats.org/officeDocument/2006/relationships/slideLayout" Target="../slideLayouts/slideLayout61.xml"/><Relationship Id="rId30" Type="http://schemas.openxmlformats.org/officeDocument/2006/relationships/slideLayout" Target="../slideLayouts/slideLayout64.xml"/><Relationship Id="rId35" Type="http://schemas.openxmlformats.org/officeDocument/2006/relationships/slideLayout" Target="../slideLayouts/slideLayout69.xml"/><Relationship Id="rId43" Type="http://schemas.openxmlformats.org/officeDocument/2006/relationships/slideLayout" Target="../slideLayouts/slideLayout77.xml"/><Relationship Id="rId48" Type="http://schemas.openxmlformats.org/officeDocument/2006/relationships/slideLayout" Target="../slideLayouts/slideLayout82.xml"/><Relationship Id="rId8" Type="http://schemas.openxmlformats.org/officeDocument/2006/relationships/slideLayout" Target="../slideLayouts/slideLayout42.xml"/><Relationship Id="rId51" Type="http://schemas.openxmlformats.org/officeDocument/2006/relationships/slideLayout" Target="../slideLayouts/slideLayout85.xml"/><Relationship Id="rId3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5" Type="http://schemas.openxmlformats.org/officeDocument/2006/relationships/slideLayout" Target="../slideLayouts/slideLayout59.xml"/><Relationship Id="rId33" Type="http://schemas.openxmlformats.org/officeDocument/2006/relationships/slideLayout" Target="../slideLayouts/slideLayout67.xml"/><Relationship Id="rId38" Type="http://schemas.openxmlformats.org/officeDocument/2006/relationships/slideLayout" Target="../slideLayouts/slideLayout72.xml"/><Relationship Id="rId46" Type="http://schemas.openxmlformats.org/officeDocument/2006/relationships/slideLayout" Target="../slideLayouts/slideLayout80.xml"/><Relationship Id="rId20" Type="http://schemas.openxmlformats.org/officeDocument/2006/relationships/slideLayout" Target="../slideLayouts/slideLayout54.xml"/><Relationship Id="rId41" Type="http://schemas.openxmlformats.org/officeDocument/2006/relationships/slideLayout" Target="../slideLayouts/slideLayout75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88.xml"/><Relationship Id="rId7" Type="http://schemas.openxmlformats.org/officeDocument/2006/relationships/slideLayout" Target="../slideLayouts/slideLayout92.xml"/><Relationship Id="rId12" Type="http://schemas.openxmlformats.org/officeDocument/2006/relationships/slideLayout" Target="../slideLayouts/slideLayout97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96.xml"/><Relationship Id="rId5" Type="http://schemas.openxmlformats.org/officeDocument/2006/relationships/slideLayout" Target="../slideLayouts/slideLayout90.xml"/><Relationship Id="rId10" Type="http://schemas.openxmlformats.org/officeDocument/2006/relationships/slideLayout" Target="../slideLayouts/slideLayout95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98.xml"/><Relationship Id="rId4" Type="http://schemas.openxmlformats.org/officeDocument/2006/relationships/hyperlink" Target="http://www.presentationgo.com/" TargetMode="Externa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000">
                <a:solidFill>
                  <a:schemeClr val="dk2"/>
                </a:solidFill>
              </a:defRPr>
            </a:lvl1pPr>
            <a:lvl2pPr lvl="1" algn="r">
              <a:buNone/>
              <a:defRPr sz="1000">
                <a:solidFill>
                  <a:schemeClr val="dk2"/>
                </a:solidFill>
              </a:defRPr>
            </a:lvl2pPr>
            <a:lvl3pPr lvl="2" algn="r">
              <a:buNone/>
              <a:defRPr sz="1000">
                <a:solidFill>
                  <a:schemeClr val="dk2"/>
                </a:solidFill>
              </a:defRPr>
            </a:lvl3pPr>
            <a:lvl4pPr lvl="3" algn="r">
              <a:buNone/>
              <a:defRPr sz="1000">
                <a:solidFill>
                  <a:schemeClr val="dk2"/>
                </a:solidFill>
              </a:defRPr>
            </a:lvl4pPr>
            <a:lvl5pPr lvl="4" algn="r">
              <a:buNone/>
              <a:defRPr sz="1000">
                <a:solidFill>
                  <a:schemeClr val="dk2"/>
                </a:solidFill>
              </a:defRPr>
            </a:lvl5pPr>
            <a:lvl6pPr lvl="5" algn="r">
              <a:buNone/>
              <a:defRPr sz="1000">
                <a:solidFill>
                  <a:schemeClr val="dk2"/>
                </a:solidFill>
              </a:defRPr>
            </a:lvl6pPr>
            <a:lvl7pPr lvl="6" algn="r">
              <a:buNone/>
              <a:defRPr sz="1000">
                <a:solidFill>
                  <a:schemeClr val="dk2"/>
                </a:solidFill>
              </a:defRPr>
            </a:lvl7pPr>
            <a:lvl8pPr lvl="7" algn="r">
              <a:buNone/>
              <a:defRPr sz="1000">
                <a:solidFill>
                  <a:schemeClr val="dk2"/>
                </a:solidFill>
              </a:defRPr>
            </a:lvl8pPr>
            <a:lvl9pPr lvl="8" algn="r">
              <a:buNone/>
              <a:defRPr sz="1000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0" r:id="rId2"/>
    <p:sldLayoutId id="2147483651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F3F3F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1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1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1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p1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1054836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5" r:id="rId2"/>
    <p:sldLayoutId id="2147483666" r:id="rId3"/>
    <p:sldLayoutId id="2147483667" r:id="rId4"/>
    <p:sldLayoutId id="2147483669" r:id="rId5"/>
    <p:sldLayoutId id="2147483670" r:id="rId6"/>
    <p:sldLayoutId id="2147483671" r:id="rId7"/>
    <p:sldLayoutId id="2147483672" r:id="rId8"/>
    <p:sldLayoutId id="2147483765" r:id="rId9"/>
    <p:sldLayoutId id="2147483783" r:id="rId10"/>
    <p:sldLayoutId id="2147483784" r:id="rId11"/>
    <p:sldLayoutId id="2147483785" r:id="rId12"/>
    <p:sldLayoutId id="2147483786" r:id="rId13"/>
    <p:sldLayoutId id="2147483787" r:id="rId14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0">
              <a:srgbClr val="EFEDEE"/>
            </a:gs>
            <a:gs pos="53000">
              <a:srgbClr val="F1EFF0"/>
            </a:gs>
            <a:gs pos="77000">
              <a:srgbClr val="EFEDEE"/>
            </a:gs>
            <a:gs pos="100000">
              <a:srgbClr val="EFEBEC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122612"/>
            <a:ext cx="7886700" cy="554292"/>
          </a:xfrm>
          <a:prstGeom prst="rect">
            <a:avLst/>
          </a:prstGeom>
        </p:spPr>
        <p:txBody>
          <a:bodyPr rIns="0">
            <a:normAutofit/>
          </a:bodyPr>
          <a:lstStyle/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914401"/>
            <a:ext cx="7886700" cy="37183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4729434"/>
            <a:ext cx="9144000" cy="414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68580" rtlCol="0" anchor="ctr"/>
          <a:lstStyle/>
          <a:p>
            <a:pPr algn="ctr">
              <a:buClrTx/>
              <a:buFontTx/>
              <a:buNone/>
              <a:defRPr/>
            </a:pPr>
            <a:r>
              <a:rPr lang="en-US" sz="2400" kern="1200" spc="113" dirty="0">
                <a:solidFill>
                  <a:prstClr val="white">
                    <a:lumMod val="75000"/>
                  </a:prstClr>
                </a:solidFill>
              </a:rPr>
              <a:t>www.</a:t>
            </a:r>
            <a:r>
              <a:rPr lang="en-US" sz="2400" kern="1200" spc="113" dirty="0">
                <a:solidFill>
                  <a:prstClr val="black">
                    <a:lumMod val="85000"/>
                    <a:lumOff val="15000"/>
                  </a:prstClr>
                </a:solidFill>
              </a:rPr>
              <a:t>presentationgo</a:t>
            </a:r>
            <a:r>
              <a:rPr lang="en-US" sz="2400" kern="1200" spc="113" dirty="0">
                <a:solidFill>
                  <a:prstClr val="white">
                    <a:lumMod val="75000"/>
                  </a:prstClr>
                </a:solidFill>
              </a:rPr>
              <a:t>.com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-9525" y="5219701"/>
            <a:ext cx="1225015" cy="2192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Tx/>
              <a:buFontTx/>
              <a:buNone/>
            </a:pPr>
            <a:r>
              <a:rPr lang="en-US" sz="825" kern="1200" dirty="0">
                <a:solidFill>
                  <a:srgbClr val="555555"/>
                </a:solidFill>
                <a:latin typeface="Open Sans" panose="020B0606030504020204" pitchFamily="34" charset="0"/>
                <a:ea typeface="+mn-ea"/>
                <a:cs typeface="+mn-cs"/>
              </a:rPr>
              <a:t>© </a:t>
            </a:r>
            <a:r>
              <a:rPr lang="en-US" sz="825" kern="1200" dirty="0">
                <a:solidFill>
                  <a:srgbClr val="A5CD28"/>
                </a:solidFill>
                <a:latin typeface="Open Sans" panose="020B0606030504020204" pitchFamily="34" charset="0"/>
                <a:ea typeface="+mn-ea"/>
                <a:cs typeface="+mn-cs"/>
                <a:hlinkClick r:id="rId3" tooltip="PresentationGo!"/>
              </a:rPr>
              <a:t>presentationgo.com</a:t>
            </a:r>
            <a:endParaRPr lang="en-US" sz="825" kern="1200" dirty="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Freeform 12"/>
          <p:cNvSpPr/>
          <p:nvPr userDrawn="1"/>
        </p:nvSpPr>
        <p:spPr>
          <a:xfrm rot="5400000">
            <a:off x="68384" y="130191"/>
            <a:ext cx="277122" cy="428177"/>
          </a:xfrm>
          <a:custGeom>
            <a:avLst/>
            <a:gdLst>
              <a:gd name="connsiteX0" fmla="*/ 210916 w 1034764"/>
              <a:gd name="connsiteY0" fmla="*/ 535701 h 1598797"/>
              <a:gd name="connsiteX1" fmla="*/ 331908 w 1034764"/>
              <a:gd name="connsiteY1" fmla="*/ 284049 h 1598797"/>
              <a:gd name="connsiteX2" fmla="*/ 741774 w 1034764"/>
              <a:gd name="connsiteY2" fmla="*/ 315409 h 1598797"/>
              <a:gd name="connsiteX3" fmla="*/ 403935 w 1034764"/>
              <a:gd name="connsiteY3" fmla="*/ 375418 h 1598797"/>
              <a:gd name="connsiteX4" fmla="*/ 266699 w 1034764"/>
              <a:gd name="connsiteY4" fmla="*/ 689905 h 1598797"/>
              <a:gd name="connsiteX5" fmla="*/ 266698 w 1034764"/>
              <a:gd name="connsiteY5" fmla="*/ 689907 h 1598797"/>
              <a:gd name="connsiteX6" fmla="*/ 210916 w 1034764"/>
              <a:gd name="connsiteY6" fmla="*/ 535701 h 1598797"/>
              <a:gd name="connsiteX7" fmla="*/ 134938 w 1034764"/>
              <a:gd name="connsiteY7" fmla="*/ 517381 h 1598797"/>
              <a:gd name="connsiteX8" fmla="*/ 517383 w 1034764"/>
              <a:gd name="connsiteY8" fmla="*/ 899826 h 1598797"/>
              <a:gd name="connsiteX9" fmla="*/ 899828 w 1034764"/>
              <a:gd name="connsiteY9" fmla="*/ 517381 h 1598797"/>
              <a:gd name="connsiteX10" fmla="*/ 517383 w 1034764"/>
              <a:gd name="connsiteY10" fmla="*/ 134936 h 1598797"/>
              <a:gd name="connsiteX11" fmla="*/ 134938 w 1034764"/>
              <a:gd name="connsiteY11" fmla="*/ 517381 h 1598797"/>
              <a:gd name="connsiteX12" fmla="*/ 0 w 1034764"/>
              <a:gd name="connsiteY12" fmla="*/ 517382 h 1598797"/>
              <a:gd name="connsiteX13" fmla="*/ 517382 w 1034764"/>
              <a:gd name="connsiteY13" fmla="*/ 0 h 1598797"/>
              <a:gd name="connsiteX14" fmla="*/ 1034764 w 1034764"/>
              <a:gd name="connsiteY14" fmla="*/ 517382 h 1598797"/>
              <a:gd name="connsiteX15" fmla="*/ 621653 w 1034764"/>
              <a:gd name="connsiteY15" fmla="*/ 1024253 h 1598797"/>
              <a:gd name="connsiteX16" fmla="*/ 620527 w 1034764"/>
              <a:gd name="connsiteY16" fmla="*/ 1024366 h 1598797"/>
              <a:gd name="connsiteX17" fmla="*/ 662992 w 1034764"/>
              <a:gd name="connsiteY17" fmla="*/ 1598797 h 1598797"/>
              <a:gd name="connsiteX18" fmla="*/ 371775 w 1034764"/>
              <a:gd name="connsiteY18" fmla="*/ 1598797 h 1598797"/>
              <a:gd name="connsiteX19" fmla="*/ 414241 w 1034764"/>
              <a:gd name="connsiteY19" fmla="*/ 1024367 h 1598797"/>
              <a:gd name="connsiteX20" fmla="*/ 413112 w 1034764"/>
              <a:gd name="connsiteY20" fmla="*/ 1024253 h 1598797"/>
              <a:gd name="connsiteX21" fmla="*/ 0 w 1034764"/>
              <a:gd name="connsiteY21" fmla="*/ 517382 h 1598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34764" h="1598797">
                <a:moveTo>
                  <a:pt x="210916" y="535701"/>
                </a:moveTo>
                <a:cubicBezTo>
                  <a:pt x="207764" y="443901"/>
                  <a:pt x="249915" y="348683"/>
                  <a:pt x="331908" y="284049"/>
                </a:cubicBezTo>
                <a:cubicBezTo>
                  <a:pt x="463097" y="180634"/>
                  <a:pt x="646600" y="194675"/>
                  <a:pt x="741774" y="315409"/>
                </a:cubicBezTo>
                <a:cubicBezTo>
                  <a:pt x="631231" y="275026"/>
                  <a:pt x="502220" y="297941"/>
                  <a:pt x="403935" y="375418"/>
                </a:cubicBezTo>
                <a:cubicBezTo>
                  <a:pt x="305650" y="452895"/>
                  <a:pt x="253243" y="572989"/>
                  <a:pt x="266699" y="689905"/>
                </a:cubicBezTo>
                <a:lnTo>
                  <a:pt x="266698" y="689907"/>
                </a:lnTo>
                <a:cubicBezTo>
                  <a:pt x="231008" y="644631"/>
                  <a:pt x="212807" y="590781"/>
                  <a:pt x="210916" y="535701"/>
                </a:cubicBezTo>
                <a:close/>
                <a:moveTo>
                  <a:pt x="134938" y="517381"/>
                </a:moveTo>
                <a:cubicBezTo>
                  <a:pt x="134938" y="728600"/>
                  <a:pt x="306164" y="899826"/>
                  <a:pt x="517383" y="899826"/>
                </a:cubicBezTo>
                <a:cubicBezTo>
                  <a:pt x="728602" y="899826"/>
                  <a:pt x="899828" y="728600"/>
                  <a:pt x="899828" y="517381"/>
                </a:cubicBezTo>
                <a:cubicBezTo>
                  <a:pt x="899828" y="306162"/>
                  <a:pt x="728602" y="134936"/>
                  <a:pt x="517383" y="134936"/>
                </a:cubicBezTo>
                <a:cubicBezTo>
                  <a:pt x="306164" y="134936"/>
                  <a:pt x="134938" y="306162"/>
                  <a:pt x="134938" y="517381"/>
                </a:cubicBezTo>
                <a:close/>
                <a:moveTo>
                  <a:pt x="0" y="517382"/>
                </a:moveTo>
                <a:cubicBezTo>
                  <a:pt x="0" y="231640"/>
                  <a:pt x="231640" y="0"/>
                  <a:pt x="517382" y="0"/>
                </a:cubicBezTo>
                <a:cubicBezTo>
                  <a:pt x="803124" y="0"/>
                  <a:pt x="1034764" y="231640"/>
                  <a:pt x="1034764" y="517382"/>
                </a:cubicBezTo>
                <a:cubicBezTo>
                  <a:pt x="1034764" y="767406"/>
                  <a:pt x="857415" y="976008"/>
                  <a:pt x="621653" y="1024253"/>
                </a:cubicBezTo>
                <a:lnTo>
                  <a:pt x="620527" y="1024366"/>
                </a:lnTo>
                <a:lnTo>
                  <a:pt x="662992" y="1598797"/>
                </a:lnTo>
                <a:lnTo>
                  <a:pt x="371775" y="1598797"/>
                </a:lnTo>
                <a:lnTo>
                  <a:pt x="414241" y="1024367"/>
                </a:lnTo>
                <a:lnTo>
                  <a:pt x="413112" y="1024253"/>
                </a:lnTo>
                <a:cubicBezTo>
                  <a:pt x="177349" y="976008"/>
                  <a:pt x="0" y="767406"/>
                  <a:pt x="0" y="5173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2700" dist="12700" dir="2700000" algn="tl" rotWithShape="0">
              <a:schemeClr val="bg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buClrTx/>
              <a:buFontTx/>
              <a:buNone/>
            </a:pPr>
            <a:endParaRPr lang="en-US" sz="1350" kern="1200">
              <a:solidFill>
                <a:prstClr val="white"/>
              </a:solidFill>
            </a:endParaRP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-1241181" y="-12491"/>
            <a:ext cx="1213836" cy="482192"/>
            <a:chOff x="-2096383" y="21447"/>
            <a:chExt cx="1618448" cy="642922"/>
          </a:xfrm>
        </p:grpSpPr>
        <p:sp>
          <p:nvSpPr>
            <p:cNvPr id="15" name="TextBox 14"/>
            <p:cNvSpPr txBox="1"/>
            <p:nvPr userDrawn="1"/>
          </p:nvSpPr>
          <p:spPr>
            <a:xfrm>
              <a:off x="-2096383" y="21447"/>
              <a:ext cx="43217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ClrTx/>
                <a:buFontTx/>
                <a:buNone/>
              </a:pPr>
              <a:r>
                <a:rPr lang="en-US" sz="750" kern="1200" dirty="0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By:</a:t>
              </a:r>
            </a:p>
          </p:txBody>
        </p:sp>
        <p:sp>
          <p:nvSpPr>
            <p:cNvPr id="16" name="TextBox 15"/>
            <p:cNvSpPr txBox="1"/>
            <p:nvPr userDrawn="1"/>
          </p:nvSpPr>
          <p:spPr>
            <a:xfrm>
              <a:off x="-1002010" y="387370"/>
              <a:ext cx="52407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ClrTx/>
                <a:buFontTx/>
                <a:buNone/>
              </a:pPr>
              <a:r>
                <a:rPr lang="en-US" sz="750" kern="1200" dirty="0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.com</a:t>
              </a: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2018604" y="234547"/>
              <a:ext cx="1405251" cy="1859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20708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en-US" sz="2700" b="1" kern="1200">
          <a:solidFill>
            <a:schemeClr val="tx1"/>
          </a:solidFill>
          <a:latin typeface="Helvetica" panose="020B0500000000000000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j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j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39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52" name="Google Shape;252;p39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53" name="Google Shape;253;p39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54" name="Google Shape;254;p39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55" name="Google Shape;255;p39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361172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76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43189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  <p:sldLayoutId id="2147483708" r:id="rId21"/>
    <p:sldLayoutId id="2147483709" r:id="rId22"/>
    <p:sldLayoutId id="2147483710" r:id="rId23"/>
    <p:sldLayoutId id="2147483711" r:id="rId24"/>
    <p:sldLayoutId id="2147483712" r:id="rId25"/>
    <p:sldLayoutId id="2147483713" r:id="rId26"/>
    <p:sldLayoutId id="2147483714" r:id="rId27"/>
    <p:sldLayoutId id="2147483715" r:id="rId28"/>
    <p:sldLayoutId id="2147483716" r:id="rId29"/>
    <p:sldLayoutId id="2147483717" r:id="rId30"/>
    <p:sldLayoutId id="2147483718" r:id="rId31"/>
    <p:sldLayoutId id="2147483719" r:id="rId32"/>
    <p:sldLayoutId id="2147483720" r:id="rId33"/>
    <p:sldLayoutId id="2147483721" r:id="rId34"/>
    <p:sldLayoutId id="2147483722" r:id="rId35"/>
    <p:sldLayoutId id="2147483723" r:id="rId36"/>
    <p:sldLayoutId id="2147483724" r:id="rId37"/>
    <p:sldLayoutId id="2147483725" r:id="rId38"/>
    <p:sldLayoutId id="2147483726" r:id="rId39"/>
    <p:sldLayoutId id="2147483727" r:id="rId40"/>
    <p:sldLayoutId id="2147483728" r:id="rId41"/>
    <p:sldLayoutId id="2147483729" r:id="rId42"/>
    <p:sldLayoutId id="2147483730" r:id="rId43"/>
    <p:sldLayoutId id="2147483731" r:id="rId44"/>
    <p:sldLayoutId id="2147483732" r:id="rId45"/>
    <p:sldLayoutId id="2147483733" r:id="rId46"/>
    <p:sldLayoutId id="2147483734" r:id="rId47"/>
    <p:sldLayoutId id="2147483735" r:id="rId48"/>
    <p:sldLayoutId id="2147483736" r:id="rId49"/>
    <p:sldLayoutId id="2147483737" r:id="rId50"/>
    <p:sldLayoutId id="2147483738" r:id="rId51"/>
  </p:sldLayoutIdLst>
  <p:hf hdr="0" ftr="0" dt="0"/>
  <p:txStyles>
    <p:titleStyle>
      <a:lvl1pPr algn="l" defTabSz="685423" rtl="0" eaLnBrk="1" latinLnBrk="0" hangingPunct="1">
        <a:lnSpc>
          <a:spcPct val="90000"/>
        </a:lnSpc>
        <a:spcBef>
          <a:spcPct val="0"/>
        </a:spcBef>
        <a:buNone/>
        <a:defRPr sz="3498" kern="1200">
          <a:solidFill>
            <a:schemeClr val="tx1"/>
          </a:solidFill>
          <a:latin typeface="Playfair Display" pitchFamily="2" charset="77"/>
          <a:ea typeface="+mj-ea"/>
          <a:cs typeface="+mj-cs"/>
        </a:defRPr>
      </a:lvl1pPr>
    </p:titleStyle>
    <p:bodyStyle>
      <a:lvl1pPr marL="171356" indent="-171356" algn="l" defTabSz="685423" rtl="0" eaLnBrk="1" latinLnBrk="0" hangingPunct="1">
        <a:lnSpc>
          <a:spcPct val="90000"/>
        </a:lnSpc>
        <a:spcBef>
          <a:spcPts val="749"/>
        </a:spcBef>
        <a:buFont typeface="Arial" panose="020B0604020202020204" pitchFamily="34" charset="0"/>
        <a:buChar char="•"/>
        <a:defRPr sz="1499" b="0" i="0" kern="1200">
          <a:solidFill>
            <a:schemeClr val="tx1"/>
          </a:solidFill>
          <a:latin typeface="Soho Gothic Pro Light" panose="020B0303030504020204" pitchFamily="34" charset="77"/>
          <a:ea typeface="+mn-ea"/>
          <a:cs typeface="+mn-cs"/>
        </a:defRPr>
      </a:lvl1pPr>
      <a:lvl2pPr marL="514067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856778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3pPr>
      <a:lvl4pPr marL="1199490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542201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884913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227625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570336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913047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12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23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35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46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57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268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8980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691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25">
          <p15:clr>
            <a:srgbClr val="F26B43"/>
          </p15:clr>
        </p15:guide>
        <p15:guide id="2" orient="horz" pos="4035">
          <p15:clr>
            <a:srgbClr val="F26B43"/>
          </p15:clr>
        </p15:guide>
        <p15:guide id="3" pos="3840">
          <p15:clr>
            <a:srgbClr val="F26B43"/>
          </p15:clr>
        </p15:guide>
        <p15:guide id="4" pos="7468">
          <p15:clr>
            <a:srgbClr val="F26B43"/>
          </p15:clr>
        </p15:guide>
        <p15:guide id="5" pos="212">
          <p15:clr>
            <a:srgbClr val="F26B43"/>
          </p15:clr>
        </p15:guide>
        <p15:guide id="6" orient="horz" pos="769">
          <p15:clr>
            <a:srgbClr val="F26B43"/>
          </p15:clr>
        </p15:guide>
        <p15:guide id="7" orient="horz" pos="361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81000">
              <a:srgbClr val="EEEEEE"/>
            </a:gs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533311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853819"/>
            <a:ext cx="8229600" cy="3740804"/>
          </a:xfrm>
          <a:prstGeom prst="rect">
            <a:avLst/>
          </a:prstGeom>
        </p:spPr>
        <p:txBody>
          <a:bodyPr vert="horz" lIns="121899" tIns="60949" rIns="121899" bIns="6094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240">
              <a:buClrTx/>
            </a:pPr>
            <a:fld id="{425404F2-BE9A-4460-8815-8F645183555F}" type="datetimeFigureOut">
              <a:rPr lang="en-US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914240">
                <a:buClrTx/>
              </a:pPr>
              <a:t>1/20/2020</a:t>
            </a:fld>
            <a:endParaRPr lang="en-US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240">
              <a:buClrTx/>
            </a:pPr>
            <a:endParaRPr lang="en-US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1" y="4767264"/>
            <a:ext cx="2133600" cy="273844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240">
              <a:buClrTx/>
            </a:pPr>
            <a:fld id="{96E69268-9C8B-4EBF-A9EE-DC5DC2D48DC3}" type="slidenum">
              <a:rPr lang="en-US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914240">
                <a:buClrTx/>
              </a:pPr>
              <a:t>‹#›</a:t>
            </a:fld>
            <a:endParaRPr lang="en-US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1407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</p:sldLayoutIdLst>
  <p:txStyles>
    <p:titleStyle>
      <a:lvl1pPr algn="l" defTabSz="914240" rtl="0" eaLnBrk="1" latinLnBrk="0" hangingPunct="1">
        <a:spcBef>
          <a:spcPct val="0"/>
        </a:spcBef>
        <a:buNone/>
        <a:defRPr sz="2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40" indent="-342840" algn="l" defTabSz="91424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j-lt"/>
          <a:ea typeface="+mn-ea"/>
          <a:cs typeface="+mn-cs"/>
        </a:defRPr>
      </a:lvl1pPr>
      <a:lvl2pPr marL="742820" indent="-285700" algn="l" defTabSz="91424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j-lt"/>
          <a:ea typeface="+mn-ea"/>
          <a:cs typeface="+mn-cs"/>
        </a:defRPr>
      </a:lvl2pPr>
      <a:lvl3pPr marL="1142800" indent="-228560" algn="l" defTabSz="91424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3pPr>
      <a:lvl4pPr marL="1599920" indent="-228560" algn="l" defTabSz="91424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040" indent="-228560" algn="l" defTabSz="91424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160" indent="-228560" algn="l" defTabSz="914240" rtl="0" eaLnBrk="1" latinLnBrk="0" hangingPunct="1">
        <a:spcBef>
          <a:spcPct val="20000"/>
        </a:spcBef>
        <a:buFont typeface="Arial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2971280" indent="-228560" algn="l" defTabSz="914240" rtl="0" eaLnBrk="1" latinLnBrk="0" hangingPunct="1">
        <a:spcBef>
          <a:spcPct val="20000"/>
        </a:spcBef>
        <a:buFont typeface="Arial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428400" indent="-228560" algn="l" defTabSz="914240" rtl="0" eaLnBrk="1" latinLnBrk="0" hangingPunct="1">
        <a:spcBef>
          <a:spcPct val="20000"/>
        </a:spcBef>
        <a:buFont typeface="Arial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3885520" indent="-228560" algn="l" defTabSz="914240" rtl="0" eaLnBrk="1" latinLnBrk="0" hangingPunct="1">
        <a:spcBef>
          <a:spcPct val="20000"/>
        </a:spcBef>
        <a:buFont typeface="Arial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0" algn="l" defTabSz="914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40" algn="l" defTabSz="914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60" algn="l" defTabSz="914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80" algn="l" defTabSz="914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00" algn="l" defTabSz="914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20" algn="l" defTabSz="914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40" algn="l" defTabSz="914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60" algn="l" defTabSz="914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0">
              <a:srgbClr val="323A45"/>
            </a:gs>
            <a:gs pos="35000">
              <a:srgbClr val="323A45"/>
            </a:gs>
            <a:gs pos="100000">
              <a:srgbClr val="1C2026"/>
            </a:gs>
          </a:gsLst>
          <a:path path="circle">
            <a:fillToRect l="50000" t="-80000" r="50000" b="18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122612"/>
            <a:ext cx="7886700" cy="554292"/>
          </a:xfrm>
          <a:prstGeom prst="rect">
            <a:avLst/>
          </a:prstGeom>
        </p:spPr>
        <p:txBody>
          <a:bodyPr rIns="0">
            <a:normAutofit/>
          </a:bodyPr>
          <a:lstStyle/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914401"/>
            <a:ext cx="7886700" cy="37183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4729434"/>
            <a:ext cx="9144000" cy="414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68580" rtlCol="0" anchor="ctr"/>
          <a:lstStyle/>
          <a:p>
            <a:pPr algn="ctr">
              <a:buClrTx/>
              <a:buFontTx/>
              <a:buNone/>
              <a:defRPr/>
            </a:pPr>
            <a:r>
              <a:rPr lang="en-US" sz="2400" kern="1200" spc="113" dirty="0">
                <a:solidFill>
                  <a:prstClr val="white">
                    <a:lumMod val="75000"/>
                  </a:prstClr>
                </a:solidFill>
              </a:rPr>
              <a:t>www.</a:t>
            </a:r>
            <a:r>
              <a:rPr lang="en-US" sz="2400" kern="1200" spc="113" dirty="0">
                <a:solidFill>
                  <a:prstClr val="black">
                    <a:lumMod val="85000"/>
                    <a:lumOff val="15000"/>
                  </a:prstClr>
                </a:solidFill>
              </a:rPr>
              <a:t>presentationgo</a:t>
            </a:r>
            <a:r>
              <a:rPr lang="en-US" sz="2400" kern="1200" spc="113" dirty="0">
                <a:solidFill>
                  <a:prstClr val="white">
                    <a:lumMod val="75000"/>
                  </a:prstClr>
                </a:solidFill>
              </a:rPr>
              <a:t>.com</a:t>
            </a:r>
          </a:p>
        </p:txBody>
      </p:sp>
      <p:sp>
        <p:nvSpPr>
          <p:cNvPr id="13" name="Freeform 12"/>
          <p:cNvSpPr/>
          <p:nvPr userDrawn="1"/>
        </p:nvSpPr>
        <p:spPr>
          <a:xfrm rot="5400000">
            <a:off x="68384" y="130191"/>
            <a:ext cx="277122" cy="428177"/>
          </a:xfrm>
          <a:custGeom>
            <a:avLst/>
            <a:gdLst>
              <a:gd name="connsiteX0" fmla="*/ 210916 w 1034764"/>
              <a:gd name="connsiteY0" fmla="*/ 535701 h 1598797"/>
              <a:gd name="connsiteX1" fmla="*/ 331908 w 1034764"/>
              <a:gd name="connsiteY1" fmla="*/ 284049 h 1598797"/>
              <a:gd name="connsiteX2" fmla="*/ 741774 w 1034764"/>
              <a:gd name="connsiteY2" fmla="*/ 315409 h 1598797"/>
              <a:gd name="connsiteX3" fmla="*/ 403935 w 1034764"/>
              <a:gd name="connsiteY3" fmla="*/ 375418 h 1598797"/>
              <a:gd name="connsiteX4" fmla="*/ 266699 w 1034764"/>
              <a:gd name="connsiteY4" fmla="*/ 689905 h 1598797"/>
              <a:gd name="connsiteX5" fmla="*/ 266698 w 1034764"/>
              <a:gd name="connsiteY5" fmla="*/ 689907 h 1598797"/>
              <a:gd name="connsiteX6" fmla="*/ 210916 w 1034764"/>
              <a:gd name="connsiteY6" fmla="*/ 535701 h 1598797"/>
              <a:gd name="connsiteX7" fmla="*/ 134938 w 1034764"/>
              <a:gd name="connsiteY7" fmla="*/ 517381 h 1598797"/>
              <a:gd name="connsiteX8" fmla="*/ 517383 w 1034764"/>
              <a:gd name="connsiteY8" fmla="*/ 899826 h 1598797"/>
              <a:gd name="connsiteX9" fmla="*/ 899828 w 1034764"/>
              <a:gd name="connsiteY9" fmla="*/ 517381 h 1598797"/>
              <a:gd name="connsiteX10" fmla="*/ 517383 w 1034764"/>
              <a:gd name="connsiteY10" fmla="*/ 134936 h 1598797"/>
              <a:gd name="connsiteX11" fmla="*/ 134938 w 1034764"/>
              <a:gd name="connsiteY11" fmla="*/ 517381 h 1598797"/>
              <a:gd name="connsiteX12" fmla="*/ 0 w 1034764"/>
              <a:gd name="connsiteY12" fmla="*/ 517382 h 1598797"/>
              <a:gd name="connsiteX13" fmla="*/ 517382 w 1034764"/>
              <a:gd name="connsiteY13" fmla="*/ 0 h 1598797"/>
              <a:gd name="connsiteX14" fmla="*/ 1034764 w 1034764"/>
              <a:gd name="connsiteY14" fmla="*/ 517382 h 1598797"/>
              <a:gd name="connsiteX15" fmla="*/ 621653 w 1034764"/>
              <a:gd name="connsiteY15" fmla="*/ 1024253 h 1598797"/>
              <a:gd name="connsiteX16" fmla="*/ 620527 w 1034764"/>
              <a:gd name="connsiteY16" fmla="*/ 1024366 h 1598797"/>
              <a:gd name="connsiteX17" fmla="*/ 662992 w 1034764"/>
              <a:gd name="connsiteY17" fmla="*/ 1598797 h 1598797"/>
              <a:gd name="connsiteX18" fmla="*/ 371775 w 1034764"/>
              <a:gd name="connsiteY18" fmla="*/ 1598797 h 1598797"/>
              <a:gd name="connsiteX19" fmla="*/ 414241 w 1034764"/>
              <a:gd name="connsiteY19" fmla="*/ 1024367 h 1598797"/>
              <a:gd name="connsiteX20" fmla="*/ 413112 w 1034764"/>
              <a:gd name="connsiteY20" fmla="*/ 1024253 h 1598797"/>
              <a:gd name="connsiteX21" fmla="*/ 0 w 1034764"/>
              <a:gd name="connsiteY21" fmla="*/ 517382 h 1598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34764" h="1598797">
                <a:moveTo>
                  <a:pt x="210916" y="535701"/>
                </a:moveTo>
                <a:cubicBezTo>
                  <a:pt x="207764" y="443901"/>
                  <a:pt x="249915" y="348683"/>
                  <a:pt x="331908" y="284049"/>
                </a:cubicBezTo>
                <a:cubicBezTo>
                  <a:pt x="463097" y="180634"/>
                  <a:pt x="646600" y="194675"/>
                  <a:pt x="741774" y="315409"/>
                </a:cubicBezTo>
                <a:cubicBezTo>
                  <a:pt x="631231" y="275026"/>
                  <a:pt x="502220" y="297941"/>
                  <a:pt x="403935" y="375418"/>
                </a:cubicBezTo>
                <a:cubicBezTo>
                  <a:pt x="305650" y="452895"/>
                  <a:pt x="253243" y="572989"/>
                  <a:pt x="266699" y="689905"/>
                </a:cubicBezTo>
                <a:lnTo>
                  <a:pt x="266698" y="689907"/>
                </a:lnTo>
                <a:cubicBezTo>
                  <a:pt x="231008" y="644631"/>
                  <a:pt x="212807" y="590781"/>
                  <a:pt x="210916" y="535701"/>
                </a:cubicBezTo>
                <a:close/>
                <a:moveTo>
                  <a:pt x="134938" y="517381"/>
                </a:moveTo>
                <a:cubicBezTo>
                  <a:pt x="134938" y="728600"/>
                  <a:pt x="306164" y="899826"/>
                  <a:pt x="517383" y="899826"/>
                </a:cubicBezTo>
                <a:cubicBezTo>
                  <a:pt x="728602" y="899826"/>
                  <a:pt x="899828" y="728600"/>
                  <a:pt x="899828" y="517381"/>
                </a:cubicBezTo>
                <a:cubicBezTo>
                  <a:pt x="899828" y="306162"/>
                  <a:pt x="728602" y="134936"/>
                  <a:pt x="517383" y="134936"/>
                </a:cubicBezTo>
                <a:cubicBezTo>
                  <a:pt x="306164" y="134936"/>
                  <a:pt x="134938" y="306162"/>
                  <a:pt x="134938" y="517381"/>
                </a:cubicBezTo>
                <a:close/>
                <a:moveTo>
                  <a:pt x="0" y="517382"/>
                </a:moveTo>
                <a:cubicBezTo>
                  <a:pt x="0" y="231640"/>
                  <a:pt x="231640" y="0"/>
                  <a:pt x="517382" y="0"/>
                </a:cubicBezTo>
                <a:cubicBezTo>
                  <a:pt x="803124" y="0"/>
                  <a:pt x="1034764" y="231640"/>
                  <a:pt x="1034764" y="517382"/>
                </a:cubicBezTo>
                <a:cubicBezTo>
                  <a:pt x="1034764" y="767406"/>
                  <a:pt x="857415" y="976008"/>
                  <a:pt x="621653" y="1024253"/>
                </a:cubicBezTo>
                <a:lnTo>
                  <a:pt x="620527" y="1024366"/>
                </a:lnTo>
                <a:lnTo>
                  <a:pt x="662992" y="1598797"/>
                </a:lnTo>
                <a:lnTo>
                  <a:pt x="371775" y="1598797"/>
                </a:lnTo>
                <a:lnTo>
                  <a:pt x="414241" y="1024367"/>
                </a:lnTo>
                <a:lnTo>
                  <a:pt x="413112" y="1024253"/>
                </a:lnTo>
                <a:cubicBezTo>
                  <a:pt x="177349" y="976008"/>
                  <a:pt x="0" y="767406"/>
                  <a:pt x="0" y="517382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  <a:effectLst>
            <a:outerShdw blurRad="12700" dist="12700" dir="2700000" algn="tl" rotWithShape="0">
              <a:schemeClr val="bg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buClrTx/>
              <a:buFontTx/>
              <a:buNone/>
            </a:pPr>
            <a:endParaRPr lang="en-US" sz="1350" kern="1200">
              <a:solidFill>
                <a:prstClr val="white"/>
              </a:solidFill>
            </a:endParaRP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-1241181" y="-12491"/>
            <a:ext cx="1180174" cy="482192"/>
            <a:chOff x="-2096383" y="21447"/>
            <a:chExt cx="1573565" cy="642922"/>
          </a:xfrm>
        </p:grpSpPr>
        <p:sp>
          <p:nvSpPr>
            <p:cNvPr id="15" name="TextBox 14"/>
            <p:cNvSpPr txBox="1"/>
            <p:nvPr userDrawn="1"/>
          </p:nvSpPr>
          <p:spPr>
            <a:xfrm>
              <a:off x="-2096383" y="21447"/>
              <a:ext cx="39156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ClrTx/>
                <a:buFontTx/>
                <a:buNone/>
              </a:pPr>
              <a:r>
                <a:rPr lang="en-US" sz="750" kern="1200" dirty="0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By:</a:t>
              </a:r>
            </a:p>
          </p:txBody>
        </p:sp>
        <p:sp>
          <p:nvSpPr>
            <p:cNvPr id="16" name="TextBox 15"/>
            <p:cNvSpPr txBox="1"/>
            <p:nvPr userDrawn="1"/>
          </p:nvSpPr>
          <p:spPr>
            <a:xfrm>
              <a:off x="-1002010" y="387370"/>
              <a:ext cx="47919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ClrTx/>
                <a:buFontTx/>
                <a:buNone/>
              </a:pPr>
              <a:r>
                <a:rPr lang="en-US" sz="750" kern="1200" dirty="0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.com</a:t>
              </a: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-2018604" y="234547"/>
              <a:ext cx="1405251" cy="185944"/>
            </a:xfrm>
            <a:prstGeom prst="rect">
              <a:avLst/>
            </a:prstGeom>
          </p:spPr>
        </p:pic>
      </p:grpSp>
      <p:sp>
        <p:nvSpPr>
          <p:cNvPr id="18" name="Rectangle 17"/>
          <p:cNvSpPr/>
          <p:nvPr userDrawn="1"/>
        </p:nvSpPr>
        <p:spPr>
          <a:xfrm>
            <a:off x="-9526" y="5219701"/>
            <a:ext cx="1059906" cy="2192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Tx/>
              <a:buFontTx/>
              <a:buNone/>
            </a:pPr>
            <a:r>
              <a:rPr lang="en-US" sz="825" kern="1200" dirty="0">
                <a:solidFill>
                  <a:srgbClr val="555555"/>
                </a:solidFill>
                <a:latin typeface="Open Sans" panose="020B0606030504020204" pitchFamily="34" charset="0"/>
                <a:ea typeface="+mn-ea"/>
                <a:cs typeface="+mn-cs"/>
              </a:rPr>
              <a:t>© </a:t>
            </a:r>
            <a:r>
              <a:rPr lang="en-US" sz="825" kern="1200" dirty="0">
                <a:solidFill>
                  <a:srgbClr val="A5CD28"/>
                </a:solidFill>
                <a:latin typeface="Open Sans" panose="020B0606030504020204" pitchFamily="34" charset="0"/>
                <a:ea typeface="+mn-ea"/>
                <a:cs typeface="+mn-cs"/>
                <a:hlinkClick r:id="rId4" tooltip="PresentationGo!"/>
              </a:rPr>
              <a:t>presentationgo.com</a:t>
            </a:r>
            <a:endParaRPr lang="en-US" sz="825" kern="1200" dirty="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06206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en-US" sz="2700" b="1" kern="1200">
          <a:solidFill>
            <a:schemeClr val="bg1"/>
          </a:solidFill>
          <a:latin typeface="Helvetica" panose="020B0500000000000000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j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j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Layout" Target="../slideLayouts/slideLayout92.xml"/><Relationship Id="rId1" Type="http://schemas.openxmlformats.org/officeDocument/2006/relationships/themeOverride" Target="../theme/themeOverride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slideLayout" Target="../slideLayouts/slideLayout92.xml"/><Relationship Id="rId1" Type="http://schemas.openxmlformats.org/officeDocument/2006/relationships/themeOverride" Target="../theme/themeOverride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fif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0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0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29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0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0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0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0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slideLayout" Target="../slideLayouts/slideLayout92.xml"/><Relationship Id="rId1" Type="http://schemas.openxmlformats.org/officeDocument/2006/relationships/themeOverride" Target="../theme/themeOverride3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0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0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6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0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Layout" Target="../slideLayouts/slideLayout92.xml"/><Relationship Id="rId1" Type="http://schemas.openxmlformats.org/officeDocument/2006/relationships/themeOverride" Target="../theme/themeOverride4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0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0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1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0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2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0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0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0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0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2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3"/>
          <p:cNvSpPr txBox="1">
            <a:spLocks noGrp="1"/>
          </p:cNvSpPr>
          <p:nvPr>
            <p:ph type="subTitle" idx="1"/>
          </p:nvPr>
        </p:nvSpPr>
        <p:spPr>
          <a:xfrm>
            <a:off x="1799300" y="2381207"/>
            <a:ext cx="55602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600" b="1" dirty="0" smtClean="0">
                <a:solidFill>
                  <a:srgbClr val="FFFFFF"/>
                </a:solidFill>
              </a:rPr>
              <a:t>PROCESS SELECTION</a:t>
            </a:r>
            <a:endParaRPr sz="2600" b="1" dirty="0">
              <a:solidFill>
                <a:srgbClr val="FFFFFF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/>
                </a:solidFill>
              </a:rPr>
              <a:t>Process Flow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4073236" y="12468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/>
              <a:t>DISCOVERY</a:t>
            </a:r>
            <a:endParaRPr lang="en-US" sz="900" b="1" dirty="0"/>
          </a:p>
        </p:txBody>
      </p:sp>
      <p:sp>
        <p:nvSpPr>
          <p:cNvPr id="15" name="Rectangle 14"/>
          <p:cNvSpPr/>
          <p:nvPr/>
        </p:nvSpPr>
        <p:spPr>
          <a:xfrm>
            <a:off x="5320145" y="122842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/>
              <a:t>SOLUTIONING</a:t>
            </a:r>
            <a:endParaRPr lang="en-US" sz="900" b="1" dirty="0"/>
          </a:p>
        </p:txBody>
      </p:sp>
      <p:sp>
        <p:nvSpPr>
          <p:cNvPr id="16" name="Rectangle 15"/>
          <p:cNvSpPr/>
          <p:nvPr/>
        </p:nvSpPr>
        <p:spPr>
          <a:xfrm>
            <a:off x="6567054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/>
              <a:t>IMPLEMENTATION</a:t>
            </a:r>
            <a:endParaRPr lang="en-US" sz="900" b="1" dirty="0"/>
          </a:p>
        </p:txBody>
      </p:sp>
      <p:sp>
        <p:nvSpPr>
          <p:cNvPr id="17" name="Rectangle 16"/>
          <p:cNvSpPr/>
          <p:nvPr/>
        </p:nvSpPr>
        <p:spPr>
          <a:xfrm>
            <a:off x="7813963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/>
              <a:t>OPERATIONS</a:t>
            </a:r>
            <a:endParaRPr lang="en-US" sz="900" b="1" dirty="0"/>
          </a:p>
        </p:txBody>
      </p:sp>
      <p:sp>
        <p:nvSpPr>
          <p:cNvPr id="18" name="Rectangle 17"/>
          <p:cNvSpPr/>
          <p:nvPr/>
        </p:nvSpPr>
        <p:spPr>
          <a:xfrm>
            <a:off x="2826327" y="122842"/>
            <a:ext cx="1246909" cy="259773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/>
              <a:t>IDEATION</a:t>
            </a:r>
            <a:endParaRPr lang="en-US" sz="900" b="1" dirty="0"/>
          </a:p>
        </p:txBody>
      </p:sp>
    </p:spTree>
    <p:extLst>
      <p:ext uri="{BB962C8B-B14F-4D97-AF65-F5344CB8AC3E}">
        <p14:creationId xmlns:p14="http://schemas.microsoft.com/office/powerpoint/2010/main" val="1493030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073236" y="12468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/>
              <a:t>DISCOVERY</a:t>
            </a:r>
            <a:endParaRPr lang="en-US" sz="900" b="1" dirty="0"/>
          </a:p>
        </p:txBody>
      </p:sp>
      <p:sp>
        <p:nvSpPr>
          <p:cNvPr id="6" name="Rectangle 5"/>
          <p:cNvSpPr/>
          <p:nvPr/>
        </p:nvSpPr>
        <p:spPr>
          <a:xfrm>
            <a:off x="5320145" y="122842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/>
              <a:t>SOLUTIONING</a:t>
            </a:r>
            <a:endParaRPr lang="en-US" sz="900" b="1" dirty="0"/>
          </a:p>
        </p:txBody>
      </p:sp>
      <p:sp>
        <p:nvSpPr>
          <p:cNvPr id="7" name="Rectangle 6"/>
          <p:cNvSpPr/>
          <p:nvPr/>
        </p:nvSpPr>
        <p:spPr>
          <a:xfrm>
            <a:off x="6567054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/>
              <a:t>IMPLEMENTATION</a:t>
            </a:r>
            <a:endParaRPr lang="en-US" sz="900" b="1" dirty="0"/>
          </a:p>
        </p:txBody>
      </p:sp>
      <p:sp>
        <p:nvSpPr>
          <p:cNvPr id="8" name="Rectangle 7"/>
          <p:cNvSpPr/>
          <p:nvPr/>
        </p:nvSpPr>
        <p:spPr>
          <a:xfrm>
            <a:off x="7813963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/>
              <a:t>OPERATIONS</a:t>
            </a:r>
            <a:endParaRPr lang="en-US" sz="900" b="1" dirty="0"/>
          </a:p>
        </p:txBody>
      </p:sp>
      <p:sp>
        <p:nvSpPr>
          <p:cNvPr id="9" name="Rectangle 8"/>
          <p:cNvSpPr/>
          <p:nvPr/>
        </p:nvSpPr>
        <p:spPr>
          <a:xfrm>
            <a:off x="120061" y="641104"/>
            <a:ext cx="8938041" cy="107351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b="1" dirty="0">
              <a:solidFill>
                <a:schemeClr val="accent3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 rot="16200000">
            <a:off x="-200541" y="966662"/>
            <a:ext cx="1073514" cy="42307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3">
                    <a:lumMod val="60000"/>
                    <a:lumOff val="40000"/>
                  </a:schemeClr>
                </a:solidFill>
              </a:rPr>
              <a:t>PROCESS OWNER</a:t>
            </a:r>
            <a:endParaRPr lang="en-US" sz="1000" b="1" dirty="0">
              <a:solidFill>
                <a:schemeClr val="accent3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22831" y="2696927"/>
            <a:ext cx="8938041" cy="130645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b="1" dirty="0">
              <a:solidFill>
                <a:schemeClr val="accent3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 rot="16200000">
            <a:off x="-318187" y="3139277"/>
            <a:ext cx="1305134" cy="42307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3">
                    <a:lumMod val="60000"/>
                    <a:lumOff val="40000"/>
                  </a:schemeClr>
                </a:solidFill>
              </a:rPr>
              <a:t>PROCESS ANALYST</a:t>
            </a:r>
            <a:endParaRPr lang="en-US" sz="1000" b="1" dirty="0">
              <a:solidFill>
                <a:schemeClr val="accent3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22831" y="4004706"/>
            <a:ext cx="8938041" cy="93079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b="1" dirty="0">
              <a:solidFill>
                <a:schemeClr val="accent3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 rot="16200000">
            <a:off x="-131682" y="4257899"/>
            <a:ext cx="932115" cy="42307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3">
                    <a:lumMod val="60000"/>
                    <a:lumOff val="40000"/>
                  </a:schemeClr>
                </a:solidFill>
              </a:rPr>
              <a:t>INPUT / OUTPUT</a:t>
            </a:r>
            <a:endParaRPr lang="en-US" sz="1000" b="1" dirty="0">
              <a:solidFill>
                <a:schemeClr val="accent3">
                  <a:lumMod val="60000"/>
                  <a:lumOff val="40000"/>
                </a:schemeClr>
              </a:solidFill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1197868" y="725842"/>
            <a:ext cx="1584846" cy="804869"/>
            <a:chOff x="900752" y="725842"/>
            <a:chExt cx="1584846" cy="804869"/>
          </a:xfrm>
        </p:grpSpPr>
        <p:sp>
          <p:nvSpPr>
            <p:cNvPr id="19" name="Rectangle 18"/>
            <p:cNvSpPr/>
            <p:nvPr/>
          </p:nvSpPr>
          <p:spPr>
            <a:xfrm>
              <a:off x="900752" y="832514"/>
              <a:ext cx="1473958" cy="698197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 smtClean="0">
                  <a:solidFill>
                    <a:schemeClr val="accent3">
                      <a:lumMod val="60000"/>
                      <a:lumOff val="40000"/>
                    </a:schemeClr>
                  </a:solidFill>
                </a:rPr>
                <a:t>SELECT PROCESS FOR RPA</a:t>
              </a:r>
              <a:endParaRPr lang="en-US" sz="1000" b="1" dirty="0">
                <a:solidFill>
                  <a:schemeClr val="accent3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20" name="Oval 19"/>
            <p:cNvSpPr/>
            <p:nvPr/>
          </p:nvSpPr>
          <p:spPr>
            <a:xfrm>
              <a:off x="2263822" y="725842"/>
              <a:ext cx="221776" cy="213341"/>
            </a:xfrm>
            <a:prstGeom prst="ellipse">
              <a:avLst/>
            </a:prstGeom>
            <a:solidFill>
              <a:srgbClr val="3F3F3F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 smtClean="0">
                  <a:solidFill>
                    <a:schemeClr val="bg1">
                      <a:lumMod val="85000"/>
                    </a:schemeClr>
                  </a:solidFill>
                </a:rPr>
                <a:t>1</a:t>
              </a:r>
              <a:endParaRPr lang="en-US" sz="1000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6321529" y="4106600"/>
            <a:ext cx="815406" cy="917575"/>
            <a:chOff x="1323975" y="4225925"/>
            <a:chExt cx="815406" cy="917575"/>
          </a:xfrm>
        </p:grpSpPr>
        <p:grpSp>
          <p:nvGrpSpPr>
            <p:cNvPr id="40" name="Group 20"/>
            <p:cNvGrpSpPr>
              <a:grpSpLocks noChangeAspect="1"/>
            </p:cNvGrpSpPr>
            <p:nvPr/>
          </p:nvGrpSpPr>
          <p:grpSpPr bwMode="auto">
            <a:xfrm>
              <a:off x="1326581" y="4225925"/>
              <a:ext cx="812800" cy="917575"/>
              <a:chOff x="2624" y="1337"/>
              <a:chExt cx="512" cy="578"/>
            </a:xfrm>
          </p:grpSpPr>
          <p:sp>
            <p:nvSpPr>
              <p:cNvPr id="41" name="AutoShape 19"/>
              <p:cNvSpPr>
                <a:spLocks noChangeAspect="1" noChangeArrowheads="1" noTextEdit="1"/>
              </p:cNvSpPr>
              <p:nvPr/>
            </p:nvSpPr>
            <p:spPr bwMode="auto">
              <a:xfrm>
                <a:off x="2624" y="1337"/>
                <a:ext cx="512" cy="5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1"/>
              <p:cNvSpPr>
                <a:spLocks/>
              </p:cNvSpPr>
              <p:nvPr/>
            </p:nvSpPr>
            <p:spPr bwMode="auto">
              <a:xfrm>
                <a:off x="2756" y="1345"/>
                <a:ext cx="248" cy="332"/>
              </a:xfrm>
              <a:custGeom>
                <a:avLst/>
                <a:gdLst>
                  <a:gd name="T0" fmla="*/ 165 w 248"/>
                  <a:gd name="T1" fmla="*/ 0 h 332"/>
                  <a:gd name="T2" fmla="*/ 0 w 248"/>
                  <a:gd name="T3" fmla="*/ 0 h 332"/>
                  <a:gd name="T4" fmla="*/ 0 w 248"/>
                  <a:gd name="T5" fmla="*/ 332 h 332"/>
                  <a:gd name="T6" fmla="*/ 248 w 248"/>
                  <a:gd name="T7" fmla="*/ 332 h 332"/>
                  <a:gd name="T8" fmla="*/ 248 w 248"/>
                  <a:gd name="T9" fmla="*/ 83 h 332"/>
                  <a:gd name="T10" fmla="*/ 165 w 248"/>
                  <a:gd name="T11" fmla="*/ 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8" h="332">
                    <a:moveTo>
                      <a:pt x="165" y="0"/>
                    </a:moveTo>
                    <a:lnTo>
                      <a:pt x="0" y="0"/>
                    </a:lnTo>
                    <a:lnTo>
                      <a:pt x="0" y="332"/>
                    </a:lnTo>
                    <a:lnTo>
                      <a:pt x="248" y="332"/>
                    </a:lnTo>
                    <a:lnTo>
                      <a:pt x="248" y="83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2"/>
              <p:cNvSpPr>
                <a:spLocks/>
              </p:cNvSpPr>
              <p:nvPr/>
            </p:nvSpPr>
            <p:spPr bwMode="auto">
              <a:xfrm>
                <a:off x="2756" y="1345"/>
                <a:ext cx="248" cy="332"/>
              </a:xfrm>
              <a:custGeom>
                <a:avLst/>
                <a:gdLst>
                  <a:gd name="T0" fmla="*/ 165 w 248"/>
                  <a:gd name="T1" fmla="*/ 0 h 332"/>
                  <a:gd name="T2" fmla="*/ 0 w 248"/>
                  <a:gd name="T3" fmla="*/ 0 h 332"/>
                  <a:gd name="T4" fmla="*/ 0 w 248"/>
                  <a:gd name="T5" fmla="*/ 332 h 332"/>
                  <a:gd name="T6" fmla="*/ 248 w 248"/>
                  <a:gd name="T7" fmla="*/ 332 h 332"/>
                  <a:gd name="T8" fmla="*/ 248 w 248"/>
                  <a:gd name="T9" fmla="*/ 83 h 332"/>
                  <a:gd name="T10" fmla="*/ 165 w 248"/>
                  <a:gd name="T11" fmla="*/ 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8" h="332">
                    <a:moveTo>
                      <a:pt x="165" y="0"/>
                    </a:moveTo>
                    <a:lnTo>
                      <a:pt x="0" y="0"/>
                    </a:lnTo>
                    <a:lnTo>
                      <a:pt x="0" y="332"/>
                    </a:lnTo>
                    <a:lnTo>
                      <a:pt x="248" y="332"/>
                    </a:lnTo>
                    <a:lnTo>
                      <a:pt x="248" y="83"/>
                    </a:lnTo>
                    <a:lnTo>
                      <a:pt x="165" y="0"/>
                    </a:lnTo>
                    <a:close/>
                  </a:path>
                </a:pathLst>
              </a:custGeom>
              <a:noFill/>
              <a:ln w="793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3"/>
              <p:cNvSpPr>
                <a:spLocks/>
              </p:cNvSpPr>
              <p:nvPr/>
            </p:nvSpPr>
            <p:spPr bwMode="auto">
              <a:xfrm>
                <a:off x="2921" y="1345"/>
                <a:ext cx="83" cy="83"/>
              </a:xfrm>
              <a:custGeom>
                <a:avLst/>
                <a:gdLst>
                  <a:gd name="T0" fmla="*/ 0 w 83"/>
                  <a:gd name="T1" fmla="*/ 83 h 83"/>
                  <a:gd name="T2" fmla="*/ 83 w 83"/>
                  <a:gd name="T3" fmla="*/ 83 h 83"/>
                  <a:gd name="T4" fmla="*/ 0 w 83"/>
                  <a:gd name="T5" fmla="*/ 0 h 83"/>
                  <a:gd name="T6" fmla="*/ 0 w 83"/>
                  <a:gd name="T7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3" h="83">
                    <a:moveTo>
                      <a:pt x="0" y="83"/>
                    </a:moveTo>
                    <a:lnTo>
                      <a:pt x="83" y="83"/>
                    </a:lnTo>
                    <a:lnTo>
                      <a:pt x="0" y="0"/>
                    </a:ln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8F8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4"/>
              <p:cNvSpPr>
                <a:spLocks/>
              </p:cNvSpPr>
              <p:nvPr/>
            </p:nvSpPr>
            <p:spPr bwMode="auto">
              <a:xfrm>
                <a:off x="2921" y="1345"/>
                <a:ext cx="83" cy="83"/>
              </a:xfrm>
              <a:custGeom>
                <a:avLst/>
                <a:gdLst>
                  <a:gd name="T0" fmla="*/ 0 w 83"/>
                  <a:gd name="T1" fmla="*/ 83 h 83"/>
                  <a:gd name="T2" fmla="*/ 83 w 83"/>
                  <a:gd name="T3" fmla="*/ 83 h 83"/>
                  <a:gd name="T4" fmla="*/ 0 w 83"/>
                  <a:gd name="T5" fmla="*/ 0 h 83"/>
                  <a:gd name="T6" fmla="*/ 0 w 83"/>
                  <a:gd name="T7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3" h="83">
                    <a:moveTo>
                      <a:pt x="0" y="83"/>
                    </a:moveTo>
                    <a:lnTo>
                      <a:pt x="83" y="83"/>
                    </a:lnTo>
                    <a:lnTo>
                      <a:pt x="0" y="0"/>
                    </a:lnTo>
                    <a:lnTo>
                      <a:pt x="0" y="83"/>
                    </a:lnTo>
                    <a:close/>
                  </a:path>
                </a:pathLst>
              </a:custGeom>
              <a:noFill/>
              <a:ln w="793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Rectangle 28"/>
              <p:cNvSpPr>
                <a:spLocks noChangeArrowheads="1"/>
              </p:cNvSpPr>
              <p:nvPr/>
            </p:nvSpPr>
            <p:spPr bwMode="auto">
              <a:xfrm>
                <a:off x="2801" y="1741"/>
                <a:ext cx="0" cy="1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alt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55" name="TextBox 54"/>
            <p:cNvSpPr txBox="1"/>
            <p:nvPr/>
          </p:nvSpPr>
          <p:spPr>
            <a:xfrm>
              <a:off x="1323975" y="4735971"/>
              <a:ext cx="815406" cy="27699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dirty="0" smtClean="0"/>
                <a:t>COMPLEXITY CALCULATOR</a:t>
              </a:r>
              <a:endParaRPr lang="en-US" sz="600" dirty="0"/>
            </a:p>
          </p:txBody>
        </p:sp>
      </p:grpSp>
      <p:grpSp>
        <p:nvGrpSpPr>
          <p:cNvPr id="60" name="Group 59"/>
          <p:cNvGrpSpPr/>
          <p:nvPr/>
        </p:nvGrpSpPr>
        <p:grpSpPr>
          <a:xfrm>
            <a:off x="2994711" y="725709"/>
            <a:ext cx="1584846" cy="804869"/>
            <a:chOff x="900752" y="725842"/>
            <a:chExt cx="1584846" cy="804869"/>
          </a:xfrm>
        </p:grpSpPr>
        <p:sp>
          <p:nvSpPr>
            <p:cNvPr id="61" name="Rectangle 60"/>
            <p:cNvSpPr/>
            <p:nvPr/>
          </p:nvSpPr>
          <p:spPr>
            <a:xfrm>
              <a:off x="900752" y="832514"/>
              <a:ext cx="1473958" cy="698197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 smtClean="0">
                  <a:solidFill>
                    <a:schemeClr val="accent3">
                      <a:lumMod val="60000"/>
                      <a:lumOff val="40000"/>
                    </a:schemeClr>
                  </a:solidFill>
                </a:rPr>
                <a:t>ANSWER AND SUBMIT IPA</a:t>
              </a:r>
              <a:endParaRPr lang="en-US" sz="1000" b="1" dirty="0">
                <a:solidFill>
                  <a:schemeClr val="accent3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62" name="Oval 61"/>
            <p:cNvSpPr/>
            <p:nvPr/>
          </p:nvSpPr>
          <p:spPr>
            <a:xfrm>
              <a:off x="2263822" y="725842"/>
              <a:ext cx="221776" cy="213341"/>
            </a:xfrm>
            <a:prstGeom prst="ellipse">
              <a:avLst/>
            </a:prstGeom>
            <a:solidFill>
              <a:srgbClr val="3F3F3F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bg1">
                      <a:lumMod val="85000"/>
                    </a:schemeClr>
                  </a:solidFill>
                </a:rPr>
                <a:t>2</a:t>
              </a:r>
            </a:p>
          </p:txBody>
        </p:sp>
      </p:grpSp>
      <p:grpSp>
        <p:nvGrpSpPr>
          <p:cNvPr id="65" name="Group 64"/>
          <p:cNvGrpSpPr/>
          <p:nvPr/>
        </p:nvGrpSpPr>
        <p:grpSpPr>
          <a:xfrm>
            <a:off x="2263961" y="4101980"/>
            <a:ext cx="815406" cy="917575"/>
            <a:chOff x="1323975" y="4225925"/>
            <a:chExt cx="815406" cy="917575"/>
          </a:xfrm>
        </p:grpSpPr>
        <p:grpSp>
          <p:nvGrpSpPr>
            <p:cNvPr id="66" name="Group 20"/>
            <p:cNvGrpSpPr>
              <a:grpSpLocks noChangeAspect="1"/>
            </p:cNvGrpSpPr>
            <p:nvPr/>
          </p:nvGrpSpPr>
          <p:grpSpPr bwMode="auto">
            <a:xfrm>
              <a:off x="1326581" y="4225925"/>
              <a:ext cx="812800" cy="917575"/>
              <a:chOff x="2624" y="1337"/>
              <a:chExt cx="512" cy="578"/>
            </a:xfrm>
          </p:grpSpPr>
          <p:sp>
            <p:nvSpPr>
              <p:cNvPr id="68" name="AutoShape 19"/>
              <p:cNvSpPr>
                <a:spLocks noChangeAspect="1" noChangeArrowheads="1" noTextEdit="1"/>
              </p:cNvSpPr>
              <p:nvPr/>
            </p:nvSpPr>
            <p:spPr bwMode="auto">
              <a:xfrm>
                <a:off x="2624" y="1337"/>
                <a:ext cx="512" cy="5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1"/>
              <p:cNvSpPr>
                <a:spLocks/>
              </p:cNvSpPr>
              <p:nvPr/>
            </p:nvSpPr>
            <p:spPr bwMode="auto">
              <a:xfrm>
                <a:off x="2756" y="1345"/>
                <a:ext cx="248" cy="332"/>
              </a:xfrm>
              <a:custGeom>
                <a:avLst/>
                <a:gdLst>
                  <a:gd name="T0" fmla="*/ 165 w 248"/>
                  <a:gd name="T1" fmla="*/ 0 h 332"/>
                  <a:gd name="T2" fmla="*/ 0 w 248"/>
                  <a:gd name="T3" fmla="*/ 0 h 332"/>
                  <a:gd name="T4" fmla="*/ 0 w 248"/>
                  <a:gd name="T5" fmla="*/ 332 h 332"/>
                  <a:gd name="T6" fmla="*/ 248 w 248"/>
                  <a:gd name="T7" fmla="*/ 332 h 332"/>
                  <a:gd name="T8" fmla="*/ 248 w 248"/>
                  <a:gd name="T9" fmla="*/ 83 h 332"/>
                  <a:gd name="T10" fmla="*/ 165 w 248"/>
                  <a:gd name="T11" fmla="*/ 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8" h="332">
                    <a:moveTo>
                      <a:pt x="165" y="0"/>
                    </a:moveTo>
                    <a:lnTo>
                      <a:pt x="0" y="0"/>
                    </a:lnTo>
                    <a:lnTo>
                      <a:pt x="0" y="332"/>
                    </a:lnTo>
                    <a:lnTo>
                      <a:pt x="248" y="332"/>
                    </a:lnTo>
                    <a:lnTo>
                      <a:pt x="248" y="83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2"/>
              <p:cNvSpPr>
                <a:spLocks/>
              </p:cNvSpPr>
              <p:nvPr/>
            </p:nvSpPr>
            <p:spPr bwMode="auto">
              <a:xfrm>
                <a:off x="2756" y="1345"/>
                <a:ext cx="248" cy="332"/>
              </a:xfrm>
              <a:custGeom>
                <a:avLst/>
                <a:gdLst>
                  <a:gd name="T0" fmla="*/ 165 w 248"/>
                  <a:gd name="T1" fmla="*/ 0 h 332"/>
                  <a:gd name="T2" fmla="*/ 0 w 248"/>
                  <a:gd name="T3" fmla="*/ 0 h 332"/>
                  <a:gd name="T4" fmla="*/ 0 w 248"/>
                  <a:gd name="T5" fmla="*/ 332 h 332"/>
                  <a:gd name="T6" fmla="*/ 248 w 248"/>
                  <a:gd name="T7" fmla="*/ 332 h 332"/>
                  <a:gd name="T8" fmla="*/ 248 w 248"/>
                  <a:gd name="T9" fmla="*/ 83 h 332"/>
                  <a:gd name="T10" fmla="*/ 165 w 248"/>
                  <a:gd name="T11" fmla="*/ 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8" h="332">
                    <a:moveTo>
                      <a:pt x="165" y="0"/>
                    </a:moveTo>
                    <a:lnTo>
                      <a:pt x="0" y="0"/>
                    </a:lnTo>
                    <a:lnTo>
                      <a:pt x="0" y="332"/>
                    </a:lnTo>
                    <a:lnTo>
                      <a:pt x="248" y="332"/>
                    </a:lnTo>
                    <a:lnTo>
                      <a:pt x="248" y="83"/>
                    </a:lnTo>
                    <a:lnTo>
                      <a:pt x="165" y="0"/>
                    </a:lnTo>
                    <a:close/>
                  </a:path>
                </a:pathLst>
              </a:custGeom>
              <a:noFill/>
              <a:ln w="793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"/>
              <p:cNvSpPr>
                <a:spLocks/>
              </p:cNvSpPr>
              <p:nvPr/>
            </p:nvSpPr>
            <p:spPr bwMode="auto">
              <a:xfrm>
                <a:off x="2921" y="1345"/>
                <a:ext cx="83" cy="83"/>
              </a:xfrm>
              <a:custGeom>
                <a:avLst/>
                <a:gdLst>
                  <a:gd name="T0" fmla="*/ 0 w 83"/>
                  <a:gd name="T1" fmla="*/ 83 h 83"/>
                  <a:gd name="T2" fmla="*/ 83 w 83"/>
                  <a:gd name="T3" fmla="*/ 83 h 83"/>
                  <a:gd name="T4" fmla="*/ 0 w 83"/>
                  <a:gd name="T5" fmla="*/ 0 h 83"/>
                  <a:gd name="T6" fmla="*/ 0 w 83"/>
                  <a:gd name="T7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3" h="83">
                    <a:moveTo>
                      <a:pt x="0" y="83"/>
                    </a:moveTo>
                    <a:lnTo>
                      <a:pt x="83" y="83"/>
                    </a:lnTo>
                    <a:lnTo>
                      <a:pt x="0" y="0"/>
                    </a:ln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8F8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4"/>
              <p:cNvSpPr>
                <a:spLocks/>
              </p:cNvSpPr>
              <p:nvPr/>
            </p:nvSpPr>
            <p:spPr bwMode="auto">
              <a:xfrm>
                <a:off x="2921" y="1345"/>
                <a:ext cx="83" cy="83"/>
              </a:xfrm>
              <a:custGeom>
                <a:avLst/>
                <a:gdLst>
                  <a:gd name="T0" fmla="*/ 0 w 83"/>
                  <a:gd name="T1" fmla="*/ 83 h 83"/>
                  <a:gd name="T2" fmla="*/ 83 w 83"/>
                  <a:gd name="T3" fmla="*/ 83 h 83"/>
                  <a:gd name="T4" fmla="*/ 0 w 83"/>
                  <a:gd name="T5" fmla="*/ 0 h 83"/>
                  <a:gd name="T6" fmla="*/ 0 w 83"/>
                  <a:gd name="T7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3" h="83">
                    <a:moveTo>
                      <a:pt x="0" y="83"/>
                    </a:moveTo>
                    <a:lnTo>
                      <a:pt x="83" y="83"/>
                    </a:lnTo>
                    <a:lnTo>
                      <a:pt x="0" y="0"/>
                    </a:lnTo>
                    <a:lnTo>
                      <a:pt x="0" y="83"/>
                    </a:lnTo>
                    <a:close/>
                  </a:path>
                </a:pathLst>
              </a:custGeom>
              <a:noFill/>
              <a:ln w="793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"/>
              <p:cNvSpPr>
                <a:spLocks noChangeArrowheads="1"/>
              </p:cNvSpPr>
              <p:nvPr/>
            </p:nvSpPr>
            <p:spPr bwMode="auto">
              <a:xfrm>
                <a:off x="2801" y="1741"/>
                <a:ext cx="0" cy="1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alt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67" name="TextBox 66"/>
            <p:cNvSpPr txBox="1"/>
            <p:nvPr/>
          </p:nvSpPr>
          <p:spPr>
            <a:xfrm>
              <a:off x="1323975" y="4735971"/>
              <a:ext cx="815406" cy="27699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dirty="0" smtClean="0"/>
                <a:t>IPA QUESTIONNAIRE</a:t>
              </a:r>
              <a:endParaRPr lang="en-US" sz="600" dirty="0"/>
            </a:p>
          </p:txBody>
        </p:sp>
      </p:grpSp>
      <p:cxnSp>
        <p:nvCxnSpPr>
          <p:cNvPr id="77" name="Elbow Connector 76"/>
          <p:cNvCxnSpPr>
            <a:stCxn id="19" idx="3"/>
            <a:endCxn id="61" idx="1"/>
          </p:cNvCxnSpPr>
          <p:nvPr/>
        </p:nvCxnSpPr>
        <p:spPr>
          <a:xfrm flipV="1">
            <a:off x="2671826" y="1181480"/>
            <a:ext cx="322885" cy="133"/>
          </a:xfrm>
          <a:prstGeom prst="bentConnector3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8" name="Group 77"/>
          <p:cNvGrpSpPr/>
          <p:nvPr/>
        </p:nvGrpSpPr>
        <p:grpSpPr>
          <a:xfrm>
            <a:off x="2994711" y="2727927"/>
            <a:ext cx="1584846" cy="804869"/>
            <a:chOff x="900752" y="725842"/>
            <a:chExt cx="1584846" cy="804869"/>
          </a:xfrm>
        </p:grpSpPr>
        <p:sp>
          <p:nvSpPr>
            <p:cNvPr id="79" name="Rectangle 78"/>
            <p:cNvSpPr/>
            <p:nvPr/>
          </p:nvSpPr>
          <p:spPr>
            <a:xfrm>
              <a:off x="900752" y="832514"/>
              <a:ext cx="1473958" cy="698197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 smtClean="0">
                  <a:solidFill>
                    <a:schemeClr val="accent3">
                      <a:lumMod val="60000"/>
                      <a:lumOff val="40000"/>
                    </a:schemeClr>
                  </a:solidFill>
                </a:rPr>
                <a:t>DETERMINE ELIGIBILITY FOR RPA</a:t>
              </a:r>
              <a:endParaRPr lang="en-US" sz="1000" b="1" dirty="0">
                <a:solidFill>
                  <a:schemeClr val="accent3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80" name="Oval 79"/>
            <p:cNvSpPr/>
            <p:nvPr/>
          </p:nvSpPr>
          <p:spPr>
            <a:xfrm>
              <a:off x="2263822" y="725842"/>
              <a:ext cx="221776" cy="213341"/>
            </a:xfrm>
            <a:prstGeom prst="ellipse">
              <a:avLst/>
            </a:prstGeom>
            <a:solidFill>
              <a:srgbClr val="3F3F3F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 smtClean="0">
                  <a:solidFill>
                    <a:schemeClr val="bg1">
                      <a:lumMod val="85000"/>
                    </a:schemeClr>
                  </a:solidFill>
                </a:rPr>
                <a:t>4</a:t>
              </a:r>
              <a:endParaRPr lang="en-US" sz="1000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cxnSp>
        <p:nvCxnSpPr>
          <p:cNvPr id="84" name="Elbow Connector 83"/>
          <p:cNvCxnSpPr>
            <a:stCxn id="61" idx="2"/>
            <a:endCxn id="88" idx="0"/>
          </p:cNvCxnSpPr>
          <p:nvPr/>
        </p:nvCxnSpPr>
        <p:spPr>
          <a:xfrm>
            <a:off x="3731690" y="1530578"/>
            <a:ext cx="0" cy="311557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Arrow Connector 96"/>
          <p:cNvCxnSpPr/>
          <p:nvPr/>
        </p:nvCxnSpPr>
        <p:spPr>
          <a:xfrm rot="5400000">
            <a:off x="2578231" y="3621513"/>
            <a:ext cx="682779" cy="493306"/>
          </a:xfrm>
          <a:prstGeom prst="bentConnector3">
            <a:avLst>
              <a:gd name="adj1" fmla="val 50000"/>
            </a:avLst>
          </a:prstGeom>
          <a:ln w="28575">
            <a:solidFill>
              <a:schemeClr val="bg1"/>
            </a:solidFill>
            <a:prstDash val="sysDash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Elbow Connector 107"/>
          <p:cNvCxnSpPr>
            <a:stCxn id="79" idx="3"/>
            <a:endCxn id="98" idx="1"/>
          </p:cNvCxnSpPr>
          <p:nvPr/>
        </p:nvCxnSpPr>
        <p:spPr>
          <a:xfrm flipV="1">
            <a:off x="4468669" y="3177929"/>
            <a:ext cx="329595" cy="5769"/>
          </a:xfrm>
          <a:prstGeom prst="bentConnector3">
            <a:avLst>
              <a:gd name="adj1" fmla="val 50000"/>
            </a:avLst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Oval 120"/>
          <p:cNvSpPr/>
          <p:nvPr/>
        </p:nvSpPr>
        <p:spPr>
          <a:xfrm>
            <a:off x="7798619" y="3001963"/>
            <a:ext cx="369454" cy="361931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</a:t>
            </a:r>
          </a:p>
        </p:txBody>
      </p:sp>
      <p:sp>
        <p:nvSpPr>
          <p:cNvPr id="122" name="Oval 121"/>
          <p:cNvSpPr/>
          <p:nvPr/>
        </p:nvSpPr>
        <p:spPr>
          <a:xfrm>
            <a:off x="641552" y="1000704"/>
            <a:ext cx="369454" cy="361931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23" name="Elbow Connector 122"/>
          <p:cNvCxnSpPr>
            <a:stCxn id="122" idx="6"/>
            <a:endCxn id="19" idx="1"/>
          </p:cNvCxnSpPr>
          <p:nvPr/>
        </p:nvCxnSpPr>
        <p:spPr>
          <a:xfrm flipV="1">
            <a:off x="1011006" y="1181613"/>
            <a:ext cx="186862" cy="57"/>
          </a:xfrm>
          <a:prstGeom prst="bentConnector3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5" name="Group 74"/>
          <p:cNvGrpSpPr/>
          <p:nvPr/>
        </p:nvGrpSpPr>
        <p:grpSpPr>
          <a:xfrm>
            <a:off x="5736828" y="2721906"/>
            <a:ext cx="1584846" cy="804869"/>
            <a:chOff x="900752" y="725842"/>
            <a:chExt cx="1584846" cy="804869"/>
          </a:xfrm>
        </p:grpSpPr>
        <p:sp>
          <p:nvSpPr>
            <p:cNvPr id="76" name="Rectangle 75"/>
            <p:cNvSpPr/>
            <p:nvPr/>
          </p:nvSpPr>
          <p:spPr>
            <a:xfrm>
              <a:off x="900752" y="832514"/>
              <a:ext cx="1473958" cy="698197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 smtClean="0">
                  <a:solidFill>
                    <a:schemeClr val="accent3">
                      <a:lumMod val="60000"/>
                      <a:lumOff val="40000"/>
                    </a:schemeClr>
                  </a:solidFill>
                </a:rPr>
                <a:t>CALCULATE PROCESS COMPLEXITY</a:t>
              </a:r>
              <a:endParaRPr lang="en-US" sz="1000" b="1" dirty="0">
                <a:solidFill>
                  <a:schemeClr val="accent3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81" name="Oval 80"/>
            <p:cNvSpPr/>
            <p:nvPr/>
          </p:nvSpPr>
          <p:spPr>
            <a:xfrm>
              <a:off x="2263822" y="725842"/>
              <a:ext cx="221776" cy="213341"/>
            </a:xfrm>
            <a:prstGeom prst="ellipse">
              <a:avLst/>
            </a:prstGeom>
            <a:solidFill>
              <a:srgbClr val="3F3F3F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bg1">
                      <a:lumMod val="85000"/>
                    </a:schemeClr>
                  </a:solidFill>
                </a:rPr>
                <a:t>5</a:t>
              </a:r>
            </a:p>
          </p:txBody>
        </p:sp>
      </p:grpSp>
      <p:cxnSp>
        <p:nvCxnSpPr>
          <p:cNvPr id="87" name="Straight Arrow Connector 86"/>
          <p:cNvCxnSpPr/>
          <p:nvPr/>
        </p:nvCxnSpPr>
        <p:spPr>
          <a:xfrm rot="5400000">
            <a:off x="1594376" y="2441959"/>
            <a:ext cx="2558700" cy="761343"/>
          </a:xfrm>
          <a:prstGeom prst="bentConnector3">
            <a:avLst>
              <a:gd name="adj1" fmla="val 9458"/>
            </a:avLst>
          </a:prstGeom>
          <a:ln w="28575">
            <a:solidFill>
              <a:schemeClr val="bg1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Elbow Connector 100"/>
          <p:cNvCxnSpPr>
            <a:stCxn id="98" idx="2"/>
            <a:endCxn id="111" idx="0"/>
          </p:cNvCxnSpPr>
          <p:nvPr/>
        </p:nvCxnSpPr>
        <p:spPr>
          <a:xfrm>
            <a:off x="4983800" y="3365260"/>
            <a:ext cx="808" cy="232846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Elbow Connector 101"/>
          <p:cNvCxnSpPr>
            <a:stCxn id="98" idx="3"/>
            <a:endCxn id="76" idx="1"/>
          </p:cNvCxnSpPr>
          <p:nvPr/>
        </p:nvCxnSpPr>
        <p:spPr>
          <a:xfrm flipV="1">
            <a:off x="5169335" y="3177677"/>
            <a:ext cx="567493" cy="252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Google Shape;59;p14"/>
          <p:cNvSpPr txBox="1">
            <a:spLocks/>
          </p:cNvSpPr>
          <p:nvPr/>
        </p:nvSpPr>
        <p:spPr>
          <a:xfrm>
            <a:off x="39560" y="19922"/>
            <a:ext cx="2938997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500" b="1" dirty="0" smtClean="0">
                <a:solidFill>
                  <a:schemeClr val="bg1"/>
                </a:solidFill>
              </a:rPr>
              <a:t>PROCESS SELECTION</a:t>
            </a:r>
            <a:endParaRPr lang="en-US" sz="1500" b="1" dirty="0">
              <a:solidFill>
                <a:schemeClr val="bg1"/>
              </a:solidFill>
            </a:endParaRPr>
          </a:p>
        </p:txBody>
      </p:sp>
      <p:sp>
        <p:nvSpPr>
          <p:cNvPr id="119" name="TextBox 118"/>
          <p:cNvSpPr txBox="1"/>
          <p:nvPr/>
        </p:nvSpPr>
        <p:spPr>
          <a:xfrm>
            <a:off x="7616915" y="2718788"/>
            <a:ext cx="1424892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bg1"/>
                </a:solidFill>
              </a:rPr>
              <a:t>Business Case Creation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3" name="Rectangle 82"/>
          <p:cNvSpPr/>
          <p:nvPr/>
        </p:nvSpPr>
        <p:spPr>
          <a:xfrm>
            <a:off x="2826327" y="122842"/>
            <a:ext cx="1246909" cy="259773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/>
              <a:t>IDEATION</a:t>
            </a:r>
            <a:endParaRPr lang="en-US" sz="900" b="1" dirty="0"/>
          </a:p>
        </p:txBody>
      </p:sp>
      <p:grpSp>
        <p:nvGrpSpPr>
          <p:cNvPr id="86" name="Group 85"/>
          <p:cNvGrpSpPr/>
          <p:nvPr/>
        </p:nvGrpSpPr>
        <p:grpSpPr>
          <a:xfrm>
            <a:off x="4798264" y="2990598"/>
            <a:ext cx="371071" cy="374662"/>
            <a:chOff x="2978557" y="990529"/>
            <a:chExt cx="371071" cy="374662"/>
          </a:xfrm>
        </p:grpSpPr>
        <p:sp>
          <p:nvSpPr>
            <p:cNvPr id="98" name="Flowchart: Decision 97"/>
            <p:cNvSpPr/>
            <p:nvPr/>
          </p:nvSpPr>
          <p:spPr>
            <a:xfrm>
              <a:off x="2978557" y="990529"/>
              <a:ext cx="371071" cy="374662"/>
            </a:xfrm>
            <a:prstGeom prst="flowChartDecision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/>
            </a:p>
          </p:txBody>
        </p:sp>
        <p:cxnSp>
          <p:nvCxnSpPr>
            <p:cNvPr id="99" name="Straight Connector 98"/>
            <p:cNvCxnSpPr/>
            <p:nvPr/>
          </p:nvCxnSpPr>
          <p:spPr>
            <a:xfrm>
              <a:off x="3065463" y="1076973"/>
              <a:ext cx="195262" cy="198344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/>
            <p:cNvCxnSpPr/>
            <p:nvPr/>
          </p:nvCxnSpPr>
          <p:spPr>
            <a:xfrm flipH="1">
              <a:off x="3071813" y="1081937"/>
              <a:ext cx="180184" cy="187628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3" name="TextBox 102"/>
          <p:cNvSpPr txBox="1"/>
          <p:nvPr/>
        </p:nvSpPr>
        <p:spPr>
          <a:xfrm>
            <a:off x="4734290" y="2698250"/>
            <a:ext cx="952806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bg1"/>
                </a:solidFill>
              </a:rPr>
              <a:t>Approved?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4968753" y="3361680"/>
            <a:ext cx="380232" cy="276999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bg1"/>
                </a:solidFill>
              </a:rPr>
              <a:t>No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5290108" y="3195936"/>
            <a:ext cx="449162" cy="276999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bg1"/>
                </a:solidFill>
              </a:rPr>
              <a:t>Yes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11" name="Oval 110"/>
          <p:cNvSpPr/>
          <p:nvPr/>
        </p:nvSpPr>
        <p:spPr>
          <a:xfrm>
            <a:off x="4799881" y="3598106"/>
            <a:ext cx="369454" cy="361931"/>
          </a:xfrm>
          <a:prstGeom prst="ellipse">
            <a:avLst/>
          </a:prstGeom>
          <a:noFill/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12" name="Straight Arrow Connector 96"/>
          <p:cNvCxnSpPr>
            <a:stCxn id="76" idx="2"/>
            <a:endCxn id="70" idx="4"/>
          </p:cNvCxnSpPr>
          <p:nvPr/>
        </p:nvCxnSpPr>
        <p:spPr>
          <a:xfrm rot="5400000">
            <a:off x="4311978" y="2084614"/>
            <a:ext cx="719668" cy="3603990"/>
          </a:xfrm>
          <a:prstGeom prst="bentConnector2">
            <a:avLst/>
          </a:prstGeom>
          <a:ln w="28575">
            <a:solidFill>
              <a:schemeClr val="bg1"/>
            </a:solidFill>
            <a:prstDash val="sysDash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Arrow Connector 86"/>
          <p:cNvCxnSpPr/>
          <p:nvPr/>
        </p:nvCxnSpPr>
        <p:spPr>
          <a:xfrm>
            <a:off x="6730535" y="3526775"/>
            <a:ext cx="0" cy="625929"/>
          </a:xfrm>
          <a:prstGeom prst="straightConnector1">
            <a:avLst/>
          </a:prstGeom>
          <a:ln w="28575">
            <a:solidFill>
              <a:schemeClr val="bg1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Elbow Connector 101"/>
          <p:cNvCxnSpPr>
            <a:stCxn id="76" idx="3"/>
            <a:endCxn id="121" idx="2"/>
          </p:cNvCxnSpPr>
          <p:nvPr/>
        </p:nvCxnSpPr>
        <p:spPr>
          <a:xfrm>
            <a:off x="7210786" y="3177677"/>
            <a:ext cx="587833" cy="5252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tangle 73"/>
          <p:cNvSpPr/>
          <p:nvPr/>
        </p:nvSpPr>
        <p:spPr>
          <a:xfrm>
            <a:off x="120061" y="1714328"/>
            <a:ext cx="8936200" cy="98556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b="1" dirty="0">
              <a:solidFill>
                <a:schemeClr val="accent3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82" name="Rectangle 81"/>
          <p:cNvSpPr/>
          <p:nvPr/>
        </p:nvSpPr>
        <p:spPr>
          <a:xfrm rot="16200000">
            <a:off x="-156193" y="1993352"/>
            <a:ext cx="981129" cy="42307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3">
                    <a:lumMod val="60000"/>
                    <a:lumOff val="40000"/>
                  </a:schemeClr>
                </a:solidFill>
              </a:rPr>
              <a:t>PRODUCT OWNER</a:t>
            </a:r>
            <a:endParaRPr lang="en-US" sz="1000" b="1" dirty="0">
              <a:solidFill>
                <a:schemeClr val="accent3">
                  <a:lumMod val="60000"/>
                  <a:lumOff val="40000"/>
                </a:schemeClr>
              </a:solidFill>
            </a:endParaRPr>
          </a:p>
        </p:txBody>
      </p:sp>
      <p:grpSp>
        <p:nvGrpSpPr>
          <p:cNvPr id="85" name="Group 84"/>
          <p:cNvGrpSpPr/>
          <p:nvPr/>
        </p:nvGrpSpPr>
        <p:grpSpPr>
          <a:xfrm>
            <a:off x="2994711" y="1735463"/>
            <a:ext cx="1584846" cy="804869"/>
            <a:chOff x="900752" y="725842"/>
            <a:chExt cx="1584846" cy="804869"/>
          </a:xfrm>
        </p:grpSpPr>
        <p:sp>
          <p:nvSpPr>
            <p:cNvPr id="88" name="Rectangle 87"/>
            <p:cNvSpPr/>
            <p:nvPr/>
          </p:nvSpPr>
          <p:spPr>
            <a:xfrm>
              <a:off x="900752" y="832514"/>
              <a:ext cx="1473958" cy="698197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 smtClean="0">
                  <a:solidFill>
                    <a:schemeClr val="accent3">
                      <a:lumMod val="60000"/>
                      <a:lumOff val="40000"/>
                    </a:schemeClr>
                  </a:solidFill>
                </a:rPr>
                <a:t>ASSIGN PROCESS ANALYST TO THE SELECTED PROCESS</a:t>
              </a:r>
              <a:endParaRPr lang="en-US" sz="1000" b="1" dirty="0">
                <a:solidFill>
                  <a:schemeClr val="accent3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89" name="Oval 88"/>
            <p:cNvSpPr/>
            <p:nvPr/>
          </p:nvSpPr>
          <p:spPr>
            <a:xfrm>
              <a:off x="2263822" y="725842"/>
              <a:ext cx="221776" cy="213341"/>
            </a:xfrm>
            <a:prstGeom prst="ellipse">
              <a:avLst/>
            </a:prstGeom>
            <a:solidFill>
              <a:srgbClr val="3F3F3F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 smtClean="0">
                  <a:solidFill>
                    <a:schemeClr val="bg1">
                      <a:lumMod val="85000"/>
                    </a:schemeClr>
                  </a:solidFill>
                </a:rPr>
                <a:t>3</a:t>
              </a:r>
              <a:endParaRPr lang="en-US" sz="1000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cxnSp>
        <p:nvCxnSpPr>
          <p:cNvPr id="94" name="Elbow Connector 83"/>
          <p:cNvCxnSpPr>
            <a:stCxn id="88" idx="2"/>
            <a:endCxn id="79" idx="0"/>
          </p:cNvCxnSpPr>
          <p:nvPr/>
        </p:nvCxnSpPr>
        <p:spPr>
          <a:xfrm>
            <a:off x="3731690" y="2540332"/>
            <a:ext cx="0" cy="294267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0562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120061" y="641104"/>
            <a:ext cx="8938041" cy="108198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b="1" dirty="0">
              <a:solidFill>
                <a:schemeClr val="accent3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 rot="16200000">
            <a:off x="-200541" y="966662"/>
            <a:ext cx="1073514" cy="42307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3">
                    <a:lumMod val="60000"/>
                    <a:lumOff val="40000"/>
                  </a:schemeClr>
                </a:solidFill>
              </a:rPr>
              <a:t>PROCESS ANALYST</a:t>
            </a:r>
            <a:endParaRPr lang="en-US" sz="1000" b="1" dirty="0">
              <a:solidFill>
                <a:schemeClr val="accent3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 rot="16200000">
            <a:off x="-639793" y="2477587"/>
            <a:ext cx="1948338" cy="42307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3">
                    <a:lumMod val="60000"/>
                    <a:lumOff val="40000"/>
                  </a:schemeClr>
                </a:solidFill>
              </a:rPr>
              <a:t>FINANCIAL BOARD</a:t>
            </a:r>
            <a:endParaRPr lang="en-US" sz="1000" b="1" dirty="0">
              <a:solidFill>
                <a:schemeClr val="accent3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22831" y="1724336"/>
            <a:ext cx="8938041" cy="193895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b="1" dirty="0">
              <a:solidFill>
                <a:schemeClr val="accent3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22831" y="3663295"/>
            <a:ext cx="8938041" cy="127220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b="1" dirty="0">
              <a:solidFill>
                <a:schemeClr val="accent3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 rot="16200000">
            <a:off x="-301726" y="4087856"/>
            <a:ext cx="1272203" cy="42307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3">
                    <a:lumMod val="60000"/>
                    <a:lumOff val="40000"/>
                  </a:schemeClr>
                </a:solidFill>
              </a:rPr>
              <a:t>INPUT / OUTPUT</a:t>
            </a:r>
            <a:endParaRPr lang="en-US" sz="1000" b="1" dirty="0">
              <a:solidFill>
                <a:schemeClr val="accent3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2" name="Oval 121"/>
          <p:cNvSpPr/>
          <p:nvPr/>
        </p:nvSpPr>
        <p:spPr>
          <a:xfrm>
            <a:off x="657880" y="1033324"/>
            <a:ext cx="369454" cy="361931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</a:t>
            </a:r>
            <a:endParaRPr lang="en-US" dirty="0"/>
          </a:p>
        </p:txBody>
      </p:sp>
      <p:grpSp>
        <p:nvGrpSpPr>
          <p:cNvPr id="82" name="Group 81"/>
          <p:cNvGrpSpPr/>
          <p:nvPr/>
        </p:nvGrpSpPr>
        <p:grpSpPr>
          <a:xfrm>
            <a:off x="1310450" y="757250"/>
            <a:ext cx="1584846" cy="804869"/>
            <a:chOff x="900752" y="725842"/>
            <a:chExt cx="1584846" cy="804869"/>
          </a:xfrm>
        </p:grpSpPr>
        <p:sp>
          <p:nvSpPr>
            <p:cNvPr id="83" name="Rectangle 82"/>
            <p:cNvSpPr/>
            <p:nvPr/>
          </p:nvSpPr>
          <p:spPr>
            <a:xfrm>
              <a:off x="900752" y="832514"/>
              <a:ext cx="1473958" cy="698197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 smtClean="0">
                  <a:solidFill>
                    <a:schemeClr val="accent3">
                      <a:lumMod val="60000"/>
                      <a:lumOff val="40000"/>
                    </a:schemeClr>
                  </a:solidFill>
                </a:rPr>
                <a:t>CREATE INITIAL BUSINESS CASE</a:t>
              </a:r>
              <a:endParaRPr lang="en-US" sz="1000" b="1" dirty="0">
                <a:solidFill>
                  <a:schemeClr val="accent3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86" name="Oval 85"/>
            <p:cNvSpPr/>
            <p:nvPr/>
          </p:nvSpPr>
          <p:spPr>
            <a:xfrm>
              <a:off x="2263822" y="725842"/>
              <a:ext cx="221776" cy="213341"/>
            </a:xfrm>
            <a:prstGeom prst="ellipse">
              <a:avLst/>
            </a:prstGeom>
            <a:solidFill>
              <a:srgbClr val="3F3F3F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bg1">
                      <a:lumMod val="85000"/>
                    </a:schemeClr>
                  </a:solidFill>
                </a:rPr>
                <a:t>6</a:t>
              </a:r>
            </a:p>
          </p:txBody>
        </p:sp>
      </p:grpSp>
      <p:grpSp>
        <p:nvGrpSpPr>
          <p:cNvPr id="98" name="Group 97"/>
          <p:cNvGrpSpPr/>
          <p:nvPr/>
        </p:nvGrpSpPr>
        <p:grpSpPr>
          <a:xfrm>
            <a:off x="2986839" y="1802274"/>
            <a:ext cx="1584846" cy="804869"/>
            <a:chOff x="900752" y="725842"/>
            <a:chExt cx="1584846" cy="804869"/>
          </a:xfrm>
        </p:grpSpPr>
        <p:sp>
          <p:nvSpPr>
            <p:cNvPr id="99" name="Rectangle 98"/>
            <p:cNvSpPr/>
            <p:nvPr/>
          </p:nvSpPr>
          <p:spPr>
            <a:xfrm>
              <a:off x="900752" y="832514"/>
              <a:ext cx="1473958" cy="698197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 smtClean="0">
                  <a:solidFill>
                    <a:schemeClr val="accent3">
                      <a:lumMod val="60000"/>
                      <a:lumOff val="40000"/>
                    </a:schemeClr>
                  </a:solidFill>
                </a:rPr>
                <a:t>REVIEW INITIAL BUSINESS CASE</a:t>
              </a:r>
              <a:endParaRPr lang="en-US" sz="1000" b="1" dirty="0">
                <a:solidFill>
                  <a:schemeClr val="accent3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100" name="Oval 99"/>
            <p:cNvSpPr/>
            <p:nvPr/>
          </p:nvSpPr>
          <p:spPr>
            <a:xfrm>
              <a:off x="2263822" y="725842"/>
              <a:ext cx="221776" cy="213341"/>
            </a:xfrm>
            <a:prstGeom prst="ellipse">
              <a:avLst/>
            </a:prstGeom>
            <a:solidFill>
              <a:srgbClr val="3F3F3F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 smtClean="0">
                  <a:solidFill>
                    <a:schemeClr val="bg1">
                      <a:lumMod val="85000"/>
                    </a:schemeClr>
                  </a:solidFill>
                </a:rPr>
                <a:t>7</a:t>
              </a:r>
              <a:endParaRPr lang="en-US" sz="1000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cxnSp>
        <p:nvCxnSpPr>
          <p:cNvPr id="25" name="Elbow Connector 24"/>
          <p:cNvCxnSpPr>
            <a:stCxn id="122" idx="6"/>
            <a:endCxn id="83" idx="1"/>
          </p:cNvCxnSpPr>
          <p:nvPr/>
        </p:nvCxnSpPr>
        <p:spPr>
          <a:xfrm flipV="1">
            <a:off x="1027334" y="1213021"/>
            <a:ext cx="283116" cy="1269"/>
          </a:xfrm>
          <a:prstGeom prst="bentConnector3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Elbow Connector 108"/>
          <p:cNvCxnSpPr>
            <a:stCxn id="83" idx="2"/>
            <a:endCxn id="99" idx="1"/>
          </p:cNvCxnSpPr>
          <p:nvPr/>
        </p:nvCxnSpPr>
        <p:spPr>
          <a:xfrm rot="16200000" flipH="1">
            <a:off x="2169171" y="1440377"/>
            <a:ext cx="695926" cy="939410"/>
          </a:xfrm>
          <a:prstGeom prst="bentConnector2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1" name="Group 110"/>
          <p:cNvGrpSpPr/>
          <p:nvPr/>
        </p:nvGrpSpPr>
        <p:grpSpPr>
          <a:xfrm>
            <a:off x="5851835" y="1801083"/>
            <a:ext cx="1584846" cy="804869"/>
            <a:chOff x="900752" y="725842"/>
            <a:chExt cx="1584846" cy="804869"/>
          </a:xfrm>
        </p:grpSpPr>
        <p:sp>
          <p:nvSpPr>
            <p:cNvPr id="112" name="Rectangle 111"/>
            <p:cNvSpPr/>
            <p:nvPr/>
          </p:nvSpPr>
          <p:spPr>
            <a:xfrm>
              <a:off x="900752" y="832514"/>
              <a:ext cx="1473958" cy="698197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 smtClean="0">
                  <a:solidFill>
                    <a:schemeClr val="accent3">
                      <a:lumMod val="60000"/>
                      <a:lumOff val="40000"/>
                    </a:schemeClr>
                  </a:solidFill>
                </a:rPr>
                <a:t>APPROVE INITIAL BUSINESS CASE</a:t>
              </a:r>
              <a:endParaRPr lang="en-US" sz="1000" b="1" dirty="0">
                <a:solidFill>
                  <a:schemeClr val="accent3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113" name="Oval 112"/>
            <p:cNvSpPr/>
            <p:nvPr/>
          </p:nvSpPr>
          <p:spPr>
            <a:xfrm>
              <a:off x="2263822" y="725842"/>
              <a:ext cx="221776" cy="213341"/>
            </a:xfrm>
            <a:prstGeom prst="ellipse">
              <a:avLst/>
            </a:prstGeom>
            <a:solidFill>
              <a:srgbClr val="3F3F3F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bg1">
                      <a:lumMod val="85000"/>
                    </a:schemeClr>
                  </a:solidFill>
                </a:rPr>
                <a:t>8</a:t>
              </a:r>
            </a:p>
          </p:txBody>
        </p:sp>
      </p:grpSp>
      <p:cxnSp>
        <p:nvCxnSpPr>
          <p:cNvPr id="140" name="Straight Arrow Connector 139"/>
          <p:cNvCxnSpPr>
            <a:stCxn id="112" idx="2"/>
          </p:cNvCxnSpPr>
          <p:nvPr/>
        </p:nvCxnSpPr>
        <p:spPr>
          <a:xfrm>
            <a:off x="6588814" y="2605952"/>
            <a:ext cx="0" cy="1304636"/>
          </a:xfrm>
          <a:prstGeom prst="straightConnector1">
            <a:avLst/>
          </a:prstGeom>
          <a:ln w="28575">
            <a:solidFill>
              <a:schemeClr val="bg1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Oval 145"/>
          <p:cNvSpPr/>
          <p:nvPr/>
        </p:nvSpPr>
        <p:spPr>
          <a:xfrm>
            <a:off x="4799881" y="3112914"/>
            <a:ext cx="369454" cy="361931"/>
          </a:xfrm>
          <a:prstGeom prst="ellipse">
            <a:avLst/>
          </a:prstGeom>
          <a:noFill/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49" name="Elbow Connector 148"/>
          <p:cNvCxnSpPr>
            <a:stCxn id="99" idx="3"/>
            <a:endCxn id="102" idx="1"/>
          </p:cNvCxnSpPr>
          <p:nvPr/>
        </p:nvCxnSpPr>
        <p:spPr>
          <a:xfrm flipV="1">
            <a:off x="4460797" y="2255849"/>
            <a:ext cx="337467" cy="2196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Google Shape;59;p14"/>
          <p:cNvSpPr txBox="1">
            <a:spLocks/>
          </p:cNvSpPr>
          <p:nvPr/>
        </p:nvSpPr>
        <p:spPr>
          <a:xfrm>
            <a:off x="39560" y="19922"/>
            <a:ext cx="2938997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500" b="1" dirty="0" smtClean="0">
                <a:solidFill>
                  <a:schemeClr val="bg1"/>
                </a:solidFill>
              </a:rPr>
              <a:t>BUSINESS CASE CREATION</a:t>
            </a:r>
            <a:endParaRPr lang="en-US" sz="1500" b="1" dirty="0">
              <a:solidFill>
                <a:schemeClr val="bg1"/>
              </a:solidFill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4073236" y="12468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/>
              <a:t>DISCOVERY</a:t>
            </a:r>
            <a:endParaRPr lang="en-US" sz="900" b="1" dirty="0"/>
          </a:p>
        </p:txBody>
      </p:sp>
      <p:sp>
        <p:nvSpPr>
          <p:cNvPr id="62" name="Rectangle 61"/>
          <p:cNvSpPr/>
          <p:nvPr/>
        </p:nvSpPr>
        <p:spPr>
          <a:xfrm>
            <a:off x="5320145" y="122842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/>
              <a:t>SOLUTIONING</a:t>
            </a:r>
            <a:endParaRPr lang="en-US" sz="900" b="1" dirty="0"/>
          </a:p>
        </p:txBody>
      </p:sp>
      <p:sp>
        <p:nvSpPr>
          <p:cNvPr id="63" name="Rectangle 62"/>
          <p:cNvSpPr/>
          <p:nvPr/>
        </p:nvSpPr>
        <p:spPr>
          <a:xfrm>
            <a:off x="6567054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/>
              <a:t>IMPLEMENTATION</a:t>
            </a:r>
            <a:endParaRPr lang="en-US" sz="900" b="1" dirty="0"/>
          </a:p>
        </p:txBody>
      </p:sp>
      <p:sp>
        <p:nvSpPr>
          <p:cNvPr id="64" name="Rectangle 63"/>
          <p:cNvSpPr/>
          <p:nvPr/>
        </p:nvSpPr>
        <p:spPr>
          <a:xfrm>
            <a:off x="7813963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/>
              <a:t>OPERATIONS</a:t>
            </a:r>
            <a:endParaRPr lang="en-US" sz="900" b="1" dirty="0"/>
          </a:p>
        </p:txBody>
      </p:sp>
      <p:sp>
        <p:nvSpPr>
          <p:cNvPr id="65" name="Rectangle 64"/>
          <p:cNvSpPr/>
          <p:nvPr/>
        </p:nvSpPr>
        <p:spPr>
          <a:xfrm>
            <a:off x="2826327" y="122842"/>
            <a:ext cx="1246909" cy="259773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/>
              <a:t>IDEATION</a:t>
            </a:r>
            <a:endParaRPr lang="en-US" sz="900" b="1" dirty="0"/>
          </a:p>
        </p:txBody>
      </p:sp>
      <p:grpSp>
        <p:nvGrpSpPr>
          <p:cNvPr id="66" name="Group 65"/>
          <p:cNvGrpSpPr/>
          <p:nvPr/>
        </p:nvGrpSpPr>
        <p:grpSpPr>
          <a:xfrm>
            <a:off x="2094913" y="4017456"/>
            <a:ext cx="815406" cy="917575"/>
            <a:chOff x="1323975" y="4225925"/>
            <a:chExt cx="815406" cy="917575"/>
          </a:xfrm>
        </p:grpSpPr>
        <p:grpSp>
          <p:nvGrpSpPr>
            <p:cNvPr id="67" name="Group 20"/>
            <p:cNvGrpSpPr>
              <a:grpSpLocks noChangeAspect="1"/>
            </p:cNvGrpSpPr>
            <p:nvPr/>
          </p:nvGrpSpPr>
          <p:grpSpPr bwMode="auto">
            <a:xfrm>
              <a:off x="1326581" y="4225925"/>
              <a:ext cx="812800" cy="917575"/>
              <a:chOff x="2624" y="1337"/>
              <a:chExt cx="512" cy="578"/>
            </a:xfrm>
          </p:grpSpPr>
          <p:sp>
            <p:nvSpPr>
              <p:cNvPr id="69" name="AutoShape 19"/>
              <p:cNvSpPr>
                <a:spLocks noChangeAspect="1" noChangeArrowheads="1" noTextEdit="1"/>
              </p:cNvSpPr>
              <p:nvPr/>
            </p:nvSpPr>
            <p:spPr bwMode="auto">
              <a:xfrm>
                <a:off x="2624" y="1337"/>
                <a:ext cx="512" cy="5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1"/>
              <p:cNvSpPr>
                <a:spLocks/>
              </p:cNvSpPr>
              <p:nvPr/>
            </p:nvSpPr>
            <p:spPr bwMode="auto">
              <a:xfrm>
                <a:off x="2756" y="1345"/>
                <a:ext cx="248" cy="332"/>
              </a:xfrm>
              <a:custGeom>
                <a:avLst/>
                <a:gdLst>
                  <a:gd name="T0" fmla="*/ 165 w 248"/>
                  <a:gd name="T1" fmla="*/ 0 h 332"/>
                  <a:gd name="T2" fmla="*/ 0 w 248"/>
                  <a:gd name="T3" fmla="*/ 0 h 332"/>
                  <a:gd name="T4" fmla="*/ 0 w 248"/>
                  <a:gd name="T5" fmla="*/ 332 h 332"/>
                  <a:gd name="T6" fmla="*/ 248 w 248"/>
                  <a:gd name="T7" fmla="*/ 332 h 332"/>
                  <a:gd name="T8" fmla="*/ 248 w 248"/>
                  <a:gd name="T9" fmla="*/ 83 h 332"/>
                  <a:gd name="T10" fmla="*/ 165 w 248"/>
                  <a:gd name="T11" fmla="*/ 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8" h="332">
                    <a:moveTo>
                      <a:pt x="165" y="0"/>
                    </a:moveTo>
                    <a:lnTo>
                      <a:pt x="0" y="0"/>
                    </a:lnTo>
                    <a:lnTo>
                      <a:pt x="0" y="332"/>
                    </a:lnTo>
                    <a:lnTo>
                      <a:pt x="248" y="332"/>
                    </a:lnTo>
                    <a:lnTo>
                      <a:pt x="248" y="83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2"/>
              <p:cNvSpPr>
                <a:spLocks/>
              </p:cNvSpPr>
              <p:nvPr/>
            </p:nvSpPr>
            <p:spPr bwMode="auto">
              <a:xfrm>
                <a:off x="2756" y="1345"/>
                <a:ext cx="248" cy="332"/>
              </a:xfrm>
              <a:custGeom>
                <a:avLst/>
                <a:gdLst>
                  <a:gd name="T0" fmla="*/ 165 w 248"/>
                  <a:gd name="T1" fmla="*/ 0 h 332"/>
                  <a:gd name="T2" fmla="*/ 0 w 248"/>
                  <a:gd name="T3" fmla="*/ 0 h 332"/>
                  <a:gd name="T4" fmla="*/ 0 w 248"/>
                  <a:gd name="T5" fmla="*/ 332 h 332"/>
                  <a:gd name="T6" fmla="*/ 248 w 248"/>
                  <a:gd name="T7" fmla="*/ 332 h 332"/>
                  <a:gd name="T8" fmla="*/ 248 w 248"/>
                  <a:gd name="T9" fmla="*/ 83 h 332"/>
                  <a:gd name="T10" fmla="*/ 165 w 248"/>
                  <a:gd name="T11" fmla="*/ 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8" h="332">
                    <a:moveTo>
                      <a:pt x="165" y="0"/>
                    </a:moveTo>
                    <a:lnTo>
                      <a:pt x="0" y="0"/>
                    </a:lnTo>
                    <a:lnTo>
                      <a:pt x="0" y="332"/>
                    </a:lnTo>
                    <a:lnTo>
                      <a:pt x="248" y="332"/>
                    </a:lnTo>
                    <a:lnTo>
                      <a:pt x="248" y="83"/>
                    </a:lnTo>
                    <a:lnTo>
                      <a:pt x="165" y="0"/>
                    </a:lnTo>
                    <a:close/>
                  </a:path>
                </a:pathLst>
              </a:custGeom>
              <a:noFill/>
              <a:ln w="793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"/>
              <p:cNvSpPr>
                <a:spLocks/>
              </p:cNvSpPr>
              <p:nvPr/>
            </p:nvSpPr>
            <p:spPr bwMode="auto">
              <a:xfrm>
                <a:off x="2921" y="1345"/>
                <a:ext cx="83" cy="83"/>
              </a:xfrm>
              <a:custGeom>
                <a:avLst/>
                <a:gdLst>
                  <a:gd name="T0" fmla="*/ 0 w 83"/>
                  <a:gd name="T1" fmla="*/ 83 h 83"/>
                  <a:gd name="T2" fmla="*/ 83 w 83"/>
                  <a:gd name="T3" fmla="*/ 83 h 83"/>
                  <a:gd name="T4" fmla="*/ 0 w 83"/>
                  <a:gd name="T5" fmla="*/ 0 h 83"/>
                  <a:gd name="T6" fmla="*/ 0 w 83"/>
                  <a:gd name="T7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3" h="83">
                    <a:moveTo>
                      <a:pt x="0" y="83"/>
                    </a:moveTo>
                    <a:lnTo>
                      <a:pt x="83" y="83"/>
                    </a:lnTo>
                    <a:lnTo>
                      <a:pt x="0" y="0"/>
                    </a:ln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8F8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4"/>
              <p:cNvSpPr>
                <a:spLocks/>
              </p:cNvSpPr>
              <p:nvPr/>
            </p:nvSpPr>
            <p:spPr bwMode="auto">
              <a:xfrm>
                <a:off x="2921" y="1345"/>
                <a:ext cx="83" cy="83"/>
              </a:xfrm>
              <a:custGeom>
                <a:avLst/>
                <a:gdLst>
                  <a:gd name="T0" fmla="*/ 0 w 83"/>
                  <a:gd name="T1" fmla="*/ 83 h 83"/>
                  <a:gd name="T2" fmla="*/ 83 w 83"/>
                  <a:gd name="T3" fmla="*/ 83 h 83"/>
                  <a:gd name="T4" fmla="*/ 0 w 83"/>
                  <a:gd name="T5" fmla="*/ 0 h 83"/>
                  <a:gd name="T6" fmla="*/ 0 w 83"/>
                  <a:gd name="T7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3" h="83">
                    <a:moveTo>
                      <a:pt x="0" y="83"/>
                    </a:moveTo>
                    <a:lnTo>
                      <a:pt x="83" y="83"/>
                    </a:lnTo>
                    <a:lnTo>
                      <a:pt x="0" y="0"/>
                    </a:lnTo>
                    <a:lnTo>
                      <a:pt x="0" y="83"/>
                    </a:lnTo>
                    <a:close/>
                  </a:path>
                </a:pathLst>
              </a:custGeom>
              <a:noFill/>
              <a:ln w="793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"/>
              <p:cNvSpPr>
                <a:spLocks noChangeArrowheads="1"/>
              </p:cNvSpPr>
              <p:nvPr/>
            </p:nvSpPr>
            <p:spPr bwMode="auto">
              <a:xfrm>
                <a:off x="2801" y="1741"/>
                <a:ext cx="0" cy="1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alt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68" name="TextBox 67"/>
            <p:cNvSpPr txBox="1"/>
            <p:nvPr/>
          </p:nvSpPr>
          <p:spPr>
            <a:xfrm>
              <a:off x="1323975" y="4735971"/>
              <a:ext cx="815406" cy="27699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dirty="0" smtClean="0"/>
                <a:t>INITIAL BUSINESS CASE</a:t>
              </a:r>
              <a:endParaRPr lang="en-US" sz="600" dirty="0"/>
            </a:p>
          </p:txBody>
        </p:sp>
      </p:grpSp>
      <p:cxnSp>
        <p:nvCxnSpPr>
          <p:cNvPr id="75" name="Straight Arrow Connector 86"/>
          <p:cNvCxnSpPr/>
          <p:nvPr/>
        </p:nvCxnSpPr>
        <p:spPr>
          <a:xfrm>
            <a:off x="2528044" y="1562118"/>
            <a:ext cx="0" cy="2468038"/>
          </a:xfrm>
          <a:prstGeom prst="straightConnector1">
            <a:avLst/>
          </a:prstGeom>
          <a:ln w="28575">
            <a:solidFill>
              <a:schemeClr val="bg1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Arrow Connector 86"/>
          <p:cNvCxnSpPr/>
          <p:nvPr/>
        </p:nvCxnSpPr>
        <p:spPr>
          <a:xfrm flipV="1">
            <a:off x="2353856" y="1562119"/>
            <a:ext cx="0" cy="2468037"/>
          </a:xfrm>
          <a:prstGeom prst="straightConnector1">
            <a:avLst/>
          </a:prstGeom>
          <a:ln w="28575">
            <a:solidFill>
              <a:schemeClr val="bg1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7" name="Group 86"/>
          <p:cNvGrpSpPr/>
          <p:nvPr/>
        </p:nvGrpSpPr>
        <p:grpSpPr>
          <a:xfrm>
            <a:off x="1209973" y="4016176"/>
            <a:ext cx="815406" cy="917575"/>
            <a:chOff x="1323975" y="4225925"/>
            <a:chExt cx="815406" cy="917575"/>
          </a:xfrm>
        </p:grpSpPr>
        <p:grpSp>
          <p:nvGrpSpPr>
            <p:cNvPr id="88" name="Group 20"/>
            <p:cNvGrpSpPr>
              <a:grpSpLocks noChangeAspect="1"/>
            </p:cNvGrpSpPr>
            <p:nvPr/>
          </p:nvGrpSpPr>
          <p:grpSpPr bwMode="auto">
            <a:xfrm>
              <a:off x="1326581" y="4225925"/>
              <a:ext cx="812800" cy="917575"/>
              <a:chOff x="2624" y="1337"/>
              <a:chExt cx="512" cy="578"/>
            </a:xfrm>
          </p:grpSpPr>
          <p:sp>
            <p:nvSpPr>
              <p:cNvPr id="90" name="AutoShape 19"/>
              <p:cNvSpPr>
                <a:spLocks noChangeAspect="1" noChangeArrowheads="1" noTextEdit="1"/>
              </p:cNvSpPr>
              <p:nvPr/>
            </p:nvSpPr>
            <p:spPr bwMode="auto">
              <a:xfrm>
                <a:off x="2624" y="1337"/>
                <a:ext cx="512" cy="5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1"/>
              <p:cNvSpPr>
                <a:spLocks/>
              </p:cNvSpPr>
              <p:nvPr/>
            </p:nvSpPr>
            <p:spPr bwMode="auto">
              <a:xfrm>
                <a:off x="2756" y="1345"/>
                <a:ext cx="248" cy="332"/>
              </a:xfrm>
              <a:custGeom>
                <a:avLst/>
                <a:gdLst>
                  <a:gd name="T0" fmla="*/ 165 w 248"/>
                  <a:gd name="T1" fmla="*/ 0 h 332"/>
                  <a:gd name="T2" fmla="*/ 0 w 248"/>
                  <a:gd name="T3" fmla="*/ 0 h 332"/>
                  <a:gd name="T4" fmla="*/ 0 w 248"/>
                  <a:gd name="T5" fmla="*/ 332 h 332"/>
                  <a:gd name="T6" fmla="*/ 248 w 248"/>
                  <a:gd name="T7" fmla="*/ 332 h 332"/>
                  <a:gd name="T8" fmla="*/ 248 w 248"/>
                  <a:gd name="T9" fmla="*/ 83 h 332"/>
                  <a:gd name="T10" fmla="*/ 165 w 248"/>
                  <a:gd name="T11" fmla="*/ 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8" h="332">
                    <a:moveTo>
                      <a:pt x="165" y="0"/>
                    </a:moveTo>
                    <a:lnTo>
                      <a:pt x="0" y="0"/>
                    </a:lnTo>
                    <a:lnTo>
                      <a:pt x="0" y="332"/>
                    </a:lnTo>
                    <a:lnTo>
                      <a:pt x="248" y="332"/>
                    </a:lnTo>
                    <a:lnTo>
                      <a:pt x="248" y="83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2"/>
              <p:cNvSpPr>
                <a:spLocks/>
              </p:cNvSpPr>
              <p:nvPr/>
            </p:nvSpPr>
            <p:spPr bwMode="auto">
              <a:xfrm>
                <a:off x="2756" y="1345"/>
                <a:ext cx="248" cy="332"/>
              </a:xfrm>
              <a:custGeom>
                <a:avLst/>
                <a:gdLst>
                  <a:gd name="T0" fmla="*/ 165 w 248"/>
                  <a:gd name="T1" fmla="*/ 0 h 332"/>
                  <a:gd name="T2" fmla="*/ 0 w 248"/>
                  <a:gd name="T3" fmla="*/ 0 h 332"/>
                  <a:gd name="T4" fmla="*/ 0 w 248"/>
                  <a:gd name="T5" fmla="*/ 332 h 332"/>
                  <a:gd name="T6" fmla="*/ 248 w 248"/>
                  <a:gd name="T7" fmla="*/ 332 h 332"/>
                  <a:gd name="T8" fmla="*/ 248 w 248"/>
                  <a:gd name="T9" fmla="*/ 83 h 332"/>
                  <a:gd name="T10" fmla="*/ 165 w 248"/>
                  <a:gd name="T11" fmla="*/ 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8" h="332">
                    <a:moveTo>
                      <a:pt x="165" y="0"/>
                    </a:moveTo>
                    <a:lnTo>
                      <a:pt x="0" y="0"/>
                    </a:lnTo>
                    <a:lnTo>
                      <a:pt x="0" y="332"/>
                    </a:lnTo>
                    <a:lnTo>
                      <a:pt x="248" y="332"/>
                    </a:lnTo>
                    <a:lnTo>
                      <a:pt x="248" y="83"/>
                    </a:lnTo>
                    <a:lnTo>
                      <a:pt x="165" y="0"/>
                    </a:lnTo>
                    <a:close/>
                  </a:path>
                </a:pathLst>
              </a:custGeom>
              <a:noFill/>
              <a:ln w="793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3"/>
              <p:cNvSpPr>
                <a:spLocks/>
              </p:cNvSpPr>
              <p:nvPr/>
            </p:nvSpPr>
            <p:spPr bwMode="auto">
              <a:xfrm>
                <a:off x="2921" y="1345"/>
                <a:ext cx="83" cy="83"/>
              </a:xfrm>
              <a:custGeom>
                <a:avLst/>
                <a:gdLst>
                  <a:gd name="T0" fmla="*/ 0 w 83"/>
                  <a:gd name="T1" fmla="*/ 83 h 83"/>
                  <a:gd name="T2" fmla="*/ 83 w 83"/>
                  <a:gd name="T3" fmla="*/ 83 h 83"/>
                  <a:gd name="T4" fmla="*/ 0 w 83"/>
                  <a:gd name="T5" fmla="*/ 0 h 83"/>
                  <a:gd name="T6" fmla="*/ 0 w 83"/>
                  <a:gd name="T7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3" h="83">
                    <a:moveTo>
                      <a:pt x="0" y="83"/>
                    </a:moveTo>
                    <a:lnTo>
                      <a:pt x="83" y="83"/>
                    </a:lnTo>
                    <a:lnTo>
                      <a:pt x="0" y="0"/>
                    </a:ln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8F8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4"/>
              <p:cNvSpPr>
                <a:spLocks/>
              </p:cNvSpPr>
              <p:nvPr/>
            </p:nvSpPr>
            <p:spPr bwMode="auto">
              <a:xfrm>
                <a:off x="2921" y="1345"/>
                <a:ext cx="83" cy="83"/>
              </a:xfrm>
              <a:custGeom>
                <a:avLst/>
                <a:gdLst>
                  <a:gd name="T0" fmla="*/ 0 w 83"/>
                  <a:gd name="T1" fmla="*/ 83 h 83"/>
                  <a:gd name="T2" fmla="*/ 83 w 83"/>
                  <a:gd name="T3" fmla="*/ 83 h 83"/>
                  <a:gd name="T4" fmla="*/ 0 w 83"/>
                  <a:gd name="T5" fmla="*/ 0 h 83"/>
                  <a:gd name="T6" fmla="*/ 0 w 83"/>
                  <a:gd name="T7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3" h="83">
                    <a:moveTo>
                      <a:pt x="0" y="83"/>
                    </a:moveTo>
                    <a:lnTo>
                      <a:pt x="83" y="83"/>
                    </a:lnTo>
                    <a:lnTo>
                      <a:pt x="0" y="0"/>
                    </a:lnTo>
                    <a:lnTo>
                      <a:pt x="0" y="83"/>
                    </a:lnTo>
                    <a:close/>
                  </a:path>
                </a:pathLst>
              </a:custGeom>
              <a:noFill/>
              <a:ln w="793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28"/>
              <p:cNvSpPr>
                <a:spLocks noChangeArrowheads="1"/>
              </p:cNvSpPr>
              <p:nvPr/>
            </p:nvSpPr>
            <p:spPr bwMode="auto">
              <a:xfrm>
                <a:off x="2801" y="1741"/>
                <a:ext cx="0" cy="1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alt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89" name="TextBox 88"/>
            <p:cNvSpPr txBox="1"/>
            <p:nvPr/>
          </p:nvSpPr>
          <p:spPr>
            <a:xfrm>
              <a:off x="1323975" y="4735971"/>
              <a:ext cx="815406" cy="27699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dirty="0" smtClean="0"/>
                <a:t>ROI CALCULATOR</a:t>
              </a:r>
              <a:endParaRPr lang="en-US" sz="600" dirty="0"/>
            </a:p>
          </p:txBody>
        </p:sp>
      </p:grpSp>
      <p:cxnSp>
        <p:nvCxnSpPr>
          <p:cNvPr id="96" name="Straight Arrow Connector 86"/>
          <p:cNvCxnSpPr/>
          <p:nvPr/>
        </p:nvCxnSpPr>
        <p:spPr>
          <a:xfrm flipV="1">
            <a:off x="1530388" y="1576207"/>
            <a:ext cx="0" cy="2468037"/>
          </a:xfrm>
          <a:prstGeom prst="straightConnector1">
            <a:avLst/>
          </a:prstGeom>
          <a:ln w="28575">
            <a:solidFill>
              <a:schemeClr val="bg1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Arrow Connector 86"/>
          <p:cNvCxnSpPr/>
          <p:nvPr/>
        </p:nvCxnSpPr>
        <p:spPr>
          <a:xfrm>
            <a:off x="1658472" y="1576206"/>
            <a:ext cx="0" cy="2468038"/>
          </a:xfrm>
          <a:prstGeom prst="straightConnector1">
            <a:avLst/>
          </a:prstGeom>
          <a:ln w="28575">
            <a:solidFill>
              <a:schemeClr val="bg1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1" name="Group 100"/>
          <p:cNvGrpSpPr/>
          <p:nvPr/>
        </p:nvGrpSpPr>
        <p:grpSpPr>
          <a:xfrm>
            <a:off x="4798264" y="2068518"/>
            <a:ext cx="371071" cy="374662"/>
            <a:chOff x="2978557" y="990529"/>
            <a:chExt cx="371071" cy="374662"/>
          </a:xfrm>
        </p:grpSpPr>
        <p:sp>
          <p:nvSpPr>
            <p:cNvPr id="102" name="Flowchart: Decision 101"/>
            <p:cNvSpPr/>
            <p:nvPr/>
          </p:nvSpPr>
          <p:spPr>
            <a:xfrm>
              <a:off x="2978557" y="990529"/>
              <a:ext cx="371071" cy="374662"/>
            </a:xfrm>
            <a:prstGeom prst="flowChartDecision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/>
            </a:p>
          </p:txBody>
        </p:sp>
        <p:cxnSp>
          <p:nvCxnSpPr>
            <p:cNvPr id="103" name="Straight Connector 102"/>
            <p:cNvCxnSpPr/>
            <p:nvPr/>
          </p:nvCxnSpPr>
          <p:spPr>
            <a:xfrm>
              <a:off x="3065463" y="1076973"/>
              <a:ext cx="195262" cy="198344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/>
            <p:cNvCxnSpPr/>
            <p:nvPr/>
          </p:nvCxnSpPr>
          <p:spPr>
            <a:xfrm flipH="1">
              <a:off x="3071813" y="1081937"/>
              <a:ext cx="180184" cy="187628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5" name="Elbow Connector 148"/>
          <p:cNvCxnSpPr>
            <a:stCxn id="102" idx="3"/>
            <a:endCxn id="112" idx="1"/>
          </p:cNvCxnSpPr>
          <p:nvPr/>
        </p:nvCxnSpPr>
        <p:spPr>
          <a:xfrm>
            <a:off x="5169335" y="2255849"/>
            <a:ext cx="682500" cy="1005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TextBox 107"/>
          <p:cNvSpPr txBox="1"/>
          <p:nvPr/>
        </p:nvSpPr>
        <p:spPr>
          <a:xfrm>
            <a:off x="4595977" y="1799222"/>
            <a:ext cx="107114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bg1"/>
                </a:solidFill>
              </a:rPr>
              <a:t>Acceptable?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4968753" y="2524124"/>
            <a:ext cx="380232" cy="276999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bg1"/>
                </a:solidFill>
              </a:rPr>
              <a:t>No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14" name="TextBox 113"/>
          <p:cNvSpPr txBox="1"/>
          <p:nvPr/>
        </p:nvSpPr>
        <p:spPr>
          <a:xfrm>
            <a:off x="5297792" y="2281540"/>
            <a:ext cx="449162" cy="276999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bg1"/>
                </a:solidFill>
              </a:rPr>
              <a:t>Yes</a:t>
            </a:r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115" name="Elbow Connector 100"/>
          <p:cNvCxnSpPr>
            <a:stCxn id="102" idx="2"/>
            <a:endCxn id="146" idx="0"/>
          </p:cNvCxnSpPr>
          <p:nvPr/>
        </p:nvCxnSpPr>
        <p:spPr>
          <a:xfrm>
            <a:off x="4983800" y="2443180"/>
            <a:ext cx="808" cy="669734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Arrow Connector 96"/>
          <p:cNvCxnSpPr>
            <a:stCxn id="99" idx="2"/>
            <a:endCxn id="70" idx="4"/>
          </p:cNvCxnSpPr>
          <p:nvPr/>
        </p:nvCxnSpPr>
        <p:spPr>
          <a:xfrm rot="5400000">
            <a:off x="2434906" y="2873007"/>
            <a:ext cx="1554776" cy="1023049"/>
          </a:xfrm>
          <a:prstGeom prst="bentConnector2">
            <a:avLst/>
          </a:prstGeom>
          <a:ln w="28575">
            <a:solidFill>
              <a:schemeClr val="bg1"/>
            </a:solidFill>
            <a:prstDash val="sysDash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Group 37"/>
          <p:cNvGrpSpPr/>
          <p:nvPr/>
        </p:nvGrpSpPr>
        <p:grpSpPr>
          <a:xfrm>
            <a:off x="6160331" y="3893232"/>
            <a:ext cx="815406" cy="971711"/>
            <a:chOff x="6160331" y="4016176"/>
            <a:chExt cx="815406" cy="971711"/>
          </a:xfrm>
        </p:grpSpPr>
        <p:grpSp>
          <p:nvGrpSpPr>
            <p:cNvPr id="148" name="Group 20"/>
            <p:cNvGrpSpPr>
              <a:grpSpLocks noChangeAspect="1"/>
            </p:cNvGrpSpPr>
            <p:nvPr/>
          </p:nvGrpSpPr>
          <p:grpSpPr bwMode="auto">
            <a:xfrm>
              <a:off x="6162937" y="4016176"/>
              <a:ext cx="812800" cy="917575"/>
              <a:chOff x="2624" y="1337"/>
              <a:chExt cx="512" cy="578"/>
            </a:xfrm>
          </p:grpSpPr>
          <p:sp>
            <p:nvSpPr>
              <p:cNvPr id="152" name="AutoShape 19"/>
              <p:cNvSpPr>
                <a:spLocks noChangeAspect="1" noChangeArrowheads="1" noTextEdit="1"/>
              </p:cNvSpPr>
              <p:nvPr/>
            </p:nvSpPr>
            <p:spPr bwMode="auto">
              <a:xfrm>
                <a:off x="2624" y="1337"/>
                <a:ext cx="512" cy="5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" name="Freeform 21"/>
              <p:cNvSpPr>
                <a:spLocks/>
              </p:cNvSpPr>
              <p:nvPr/>
            </p:nvSpPr>
            <p:spPr bwMode="auto">
              <a:xfrm>
                <a:off x="2756" y="1345"/>
                <a:ext cx="248" cy="332"/>
              </a:xfrm>
              <a:custGeom>
                <a:avLst/>
                <a:gdLst>
                  <a:gd name="T0" fmla="*/ 165 w 248"/>
                  <a:gd name="T1" fmla="*/ 0 h 332"/>
                  <a:gd name="T2" fmla="*/ 0 w 248"/>
                  <a:gd name="T3" fmla="*/ 0 h 332"/>
                  <a:gd name="T4" fmla="*/ 0 w 248"/>
                  <a:gd name="T5" fmla="*/ 332 h 332"/>
                  <a:gd name="T6" fmla="*/ 248 w 248"/>
                  <a:gd name="T7" fmla="*/ 332 h 332"/>
                  <a:gd name="T8" fmla="*/ 248 w 248"/>
                  <a:gd name="T9" fmla="*/ 83 h 332"/>
                  <a:gd name="T10" fmla="*/ 165 w 248"/>
                  <a:gd name="T11" fmla="*/ 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8" h="332">
                    <a:moveTo>
                      <a:pt x="165" y="0"/>
                    </a:moveTo>
                    <a:lnTo>
                      <a:pt x="0" y="0"/>
                    </a:lnTo>
                    <a:lnTo>
                      <a:pt x="0" y="332"/>
                    </a:lnTo>
                    <a:lnTo>
                      <a:pt x="248" y="332"/>
                    </a:lnTo>
                    <a:lnTo>
                      <a:pt x="248" y="83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" name="Freeform 22"/>
              <p:cNvSpPr>
                <a:spLocks/>
              </p:cNvSpPr>
              <p:nvPr/>
            </p:nvSpPr>
            <p:spPr bwMode="auto">
              <a:xfrm>
                <a:off x="2756" y="1345"/>
                <a:ext cx="248" cy="332"/>
              </a:xfrm>
              <a:custGeom>
                <a:avLst/>
                <a:gdLst>
                  <a:gd name="T0" fmla="*/ 165 w 248"/>
                  <a:gd name="T1" fmla="*/ 0 h 332"/>
                  <a:gd name="T2" fmla="*/ 0 w 248"/>
                  <a:gd name="T3" fmla="*/ 0 h 332"/>
                  <a:gd name="T4" fmla="*/ 0 w 248"/>
                  <a:gd name="T5" fmla="*/ 332 h 332"/>
                  <a:gd name="T6" fmla="*/ 248 w 248"/>
                  <a:gd name="T7" fmla="*/ 332 h 332"/>
                  <a:gd name="T8" fmla="*/ 248 w 248"/>
                  <a:gd name="T9" fmla="*/ 83 h 332"/>
                  <a:gd name="T10" fmla="*/ 165 w 248"/>
                  <a:gd name="T11" fmla="*/ 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8" h="332">
                    <a:moveTo>
                      <a:pt x="165" y="0"/>
                    </a:moveTo>
                    <a:lnTo>
                      <a:pt x="0" y="0"/>
                    </a:lnTo>
                    <a:lnTo>
                      <a:pt x="0" y="332"/>
                    </a:lnTo>
                    <a:lnTo>
                      <a:pt x="248" y="332"/>
                    </a:lnTo>
                    <a:lnTo>
                      <a:pt x="248" y="83"/>
                    </a:lnTo>
                    <a:lnTo>
                      <a:pt x="165" y="0"/>
                    </a:lnTo>
                    <a:close/>
                  </a:path>
                </a:pathLst>
              </a:custGeom>
              <a:noFill/>
              <a:ln w="793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" name="Freeform 23"/>
              <p:cNvSpPr>
                <a:spLocks/>
              </p:cNvSpPr>
              <p:nvPr/>
            </p:nvSpPr>
            <p:spPr bwMode="auto">
              <a:xfrm>
                <a:off x="2921" y="1345"/>
                <a:ext cx="83" cy="83"/>
              </a:xfrm>
              <a:custGeom>
                <a:avLst/>
                <a:gdLst>
                  <a:gd name="T0" fmla="*/ 0 w 83"/>
                  <a:gd name="T1" fmla="*/ 83 h 83"/>
                  <a:gd name="T2" fmla="*/ 83 w 83"/>
                  <a:gd name="T3" fmla="*/ 83 h 83"/>
                  <a:gd name="T4" fmla="*/ 0 w 83"/>
                  <a:gd name="T5" fmla="*/ 0 h 83"/>
                  <a:gd name="T6" fmla="*/ 0 w 83"/>
                  <a:gd name="T7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3" h="83">
                    <a:moveTo>
                      <a:pt x="0" y="83"/>
                    </a:moveTo>
                    <a:lnTo>
                      <a:pt x="83" y="83"/>
                    </a:lnTo>
                    <a:lnTo>
                      <a:pt x="0" y="0"/>
                    </a:ln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8F8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" name="Freeform 24"/>
              <p:cNvSpPr>
                <a:spLocks/>
              </p:cNvSpPr>
              <p:nvPr/>
            </p:nvSpPr>
            <p:spPr bwMode="auto">
              <a:xfrm>
                <a:off x="2921" y="1345"/>
                <a:ext cx="83" cy="83"/>
              </a:xfrm>
              <a:custGeom>
                <a:avLst/>
                <a:gdLst>
                  <a:gd name="T0" fmla="*/ 0 w 83"/>
                  <a:gd name="T1" fmla="*/ 83 h 83"/>
                  <a:gd name="T2" fmla="*/ 83 w 83"/>
                  <a:gd name="T3" fmla="*/ 83 h 83"/>
                  <a:gd name="T4" fmla="*/ 0 w 83"/>
                  <a:gd name="T5" fmla="*/ 0 h 83"/>
                  <a:gd name="T6" fmla="*/ 0 w 83"/>
                  <a:gd name="T7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3" h="83">
                    <a:moveTo>
                      <a:pt x="0" y="83"/>
                    </a:moveTo>
                    <a:lnTo>
                      <a:pt x="83" y="83"/>
                    </a:lnTo>
                    <a:lnTo>
                      <a:pt x="0" y="0"/>
                    </a:lnTo>
                    <a:lnTo>
                      <a:pt x="0" y="83"/>
                    </a:lnTo>
                    <a:close/>
                  </a:path>
                </a:pathLst>
              </a:custGeom>
              <a:noFill/>
              <a:ln w="793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" name="Rectangle 28"/>
              <p:cNvSpPr>
                <a:spLocks noChangeArrowheads="1"/>
              </p:cNvSpPr>
              <p:nvPr/>
            </p:nvSpPr>
            <p:spPr bwMode="auto">
              <a:xfrm>
                <a:off x="2801" y="1741"/>
                <a:ext cx="0" cy="1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alt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151" name="TextBox 150"/>
            <p:cNvSpPr txBox="1"/>
            <p:nvPr/>
          </p:nvSpPr>
          <p:spPr>
            <a:xfrm>
              <a:off x="6160331" y="4526222"/>
              <a:ext cx="815406" cy="27699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dirty="0" smtClean="0"/>
                <a:t>INITIAL BUSINESS CASE</a:t>
              </a:r>
              <a:endParaRPr lang="en-US" sz="600" dirty="0"/>
            </a:p>
          </p:txBody>
        </p:sp>
        <p:sp>
          <p:nvSpPr>
            <p:cNvPr id="161" name="TextBox 160"/>
            <p:cNvSpPr txBox="1"/>
            <p:nvPr/>
          </p:nvSpPr>
          <p:spPr>
            <a:xfrm>
              <a:off x="6160331" y="4803221"/>
              <a:ext cx="815406" cy="18466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dirty="0" smtClean="0"/>
                <a:t>APPROVED</a:t>
              </a:r>
              <a:endParaRPr lang="en-US" sz="600" dirty="0"/>
            </a:p>
          </p:txBody>
        </p:sp>
      </p:grpSp>
      <p:sp>
        <p:nvSpPr>
          <p:cNvPr id="162" name="Oval 161"/>
          <p:cNvSpPr/>
          <p:nvPr/>
        </p:nvSpPr>
        <p:spPr>
          <a:xfrm>
            <a:off x="7798619" y="2079883"/>
            <a:ext cx="369454" cy="361931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B</a:t>
            </a:r>
            <a:endParaRPr lang="en-US" dirty="0"/>
          </a:p>
        </p:txBody>
      </p:sp>
      <p:cxnSp>
        <p:nvCxnSpPr>
          <p:cNvPr id="163" name="Elbow Connector 148"/>
          <p:cNvCxnSpPr>
            <a:stCxn id="112" idx="3"/>
            <a:endCxn id="162" idx="2"/>
          </p:cNvCxnSpPr>
          <p:nvPr/>
        </p:nvCxnSpPr>
        <p:spPr>
          <a:xfrm>
            <a:off x="7325793" y="2256854"/>
            <a:ext cx="472826" cy="3995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TextBox 163"/>
          <p:cNvSpPr txBox="1"/>
          <p:nvPr/>
        </p:nvSpPr>
        <p:spPr>
          <a:xfrm>
            <a:off x="7616915" y="1819760"/>
            <a:ext cx="1424892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bg1"/>
                </a:solidFill>
              </a:rPr>
              <a:t>Process Definition</a:t>
            </a: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848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120061" y="641104"/>
            <a:ext cx="8938041" cy="108198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b="1" dirty="0">
              <a:solidFill>
                <a:schemeClr val="accent3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 rot="16200000">
            <a:off x="-200541" y="966662"/>
            <a:ext cx="1073514" cy="42307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2"/>
                </a:solidFill>
              </a:rPr>
              <a:t>PRODUCT OWNER</a:t>
            </a:r>
            <a:endParaRPr lang="en-US" sz="1000" b="1" dirty="0">
              <a:solidFill>
                <a:schemeClr val="accent2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 rot="16200000">
            <a:off x="-181810" y="2019604"/>
            <a:ext cx="1032373" cy="42307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2"/>
                </a:solidFill>
              </a:rPr>
              <a:t>PROCESS ANALYST</a:t>
            </a:r>
            <a:endParaRPr lang="en-US" sz="1000" b="1" dirty="0">
              <a:solidFill>
                <a:schemeClr val="accent2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22831" y="1724336"/>
            <a:ext cx="8938041" cy="102299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b="1" dirty="0">
              <a:solidFill>
                <a:schemeClr val="accent3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22831" y="3775717"/>
            <a:ext cx="8938041" cy="115978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b="1" dirty="0">
              <a:solidFill>
                <a:schemeClr val="accent3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 rot="16200000">
            <a:off x="-245514" y="4144066"/>
            <a:ext cx="1159780" cy="42307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2"/>
                </a:solidFill>
              </a:rPr>
              <a:t>INPUT / OUTPUT</a:t>
            </a:r>
            <a:endParaRPr lang="en-US" sz="1000" b="1" dirty="0">
              <a:solidFill>
                <a:schemeClr val="accent2"/>
              </a:solidFill>
            </a:endParaRPr>
          </a:p>
        </p:txBody>
      </p:sp>
      <p:sp>
        <p:nvSpPr>
          <p:cNvPr id="122" name="Oval 121"/>
          <p:cNvSpPr/>
          <p:nvPr/>
        </p:nvSpPr>
        <p:spPr>
          <a:xfrm>
            <a:off x="657880" y="1033324"/>
            <a:ext cx="369454" cy="361931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</a:t>
            </a:r>
          </a:p>
        </p:txBody>
      </p:sp>
      <p:grpSp>
        <p:nvGrpSpPr>
          <p:cNvPr id="82" name="Group 81"/>
          <p:cNvGrpSpPr/>
          <p:nvPr/>
        </p:nvGrpSpPr>
        <p:grpSpPr>
          <a:xfrm>
            <a:off x="1310450" y="757250"/>
            <a:ext cx="1584846" cy="804869"/>
            <a:chOff x="900752" y="725842"/>
            <a:chExt cx="1584846" cy="804869"/>
          </a:xfrm>
        </p:grpSpPr>
        <p:sp>
          <p:nvSpPr>
            <p:cNvPr id="83" name="Rectangle 82"/>
            <p:cNvSpPr/>
            <p:nvPr/>
          </p:nvSpPr>
          <p:spPr>
            <a:xfrm>
              <a:off x="900752" y="832514"/>
              <a:ext cx="1473958" cy="698197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 smtClean="0">
                  <a:solidFill>
                    <a:schemeClr val="accent2"/>
                  </a:solidFill>
                </a:rPr>
                <a:t>PRIORITIZE PROCESS FOR RPA</a:t>
              </a:r>
              <a:endParaRPr lang="en-US" sz="1000" b="1" dirty="0">
                <a:solidFill>
                  <a:schemeClr val="accent2"/>
                </a:solidFill>
              </a:endParaRPr>
            </a:p>
          </p:txBody>
        </p:sp>
        <p:sp>
          <p:nvSpPr>
            <p:cNvPr id="86" name="Oval 85"/>
            <p:cNvSpPr/>
            <p:nvPr/>
          </p:nvSpPr>
          <p:spPr>
            <a:xfrm>
              <a:off x="2263822" y="725842"/>
              <a:ext cx="221776" cy="213341"/>
            </a:xfrm>
            <a:prstGeom prst="ellipse">
              <a:avLst/>
            </a:prstGeom>
            <a:solidFill>
              <a:srgbClr val="3F3F3F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 smtClean="0">
                  <a:solidFill>
                    <a:schemeClr val="bg1">
                      <a:lumMod val="85000"/>
                    </a:schemeClr>
                  </a:solidFill>
                </a:rPr>
                <a:t>9</a:t>
              </a:r>
              <a:endParaRPr lang="en-US" sz="1000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grpSp>
        <p:nvGrpSpPr>
          <p:cNvPr id="98" name="Group 97"/>
          <p:cNvGrpSpPr/>
          <p:nvPr/>
        </p:nvGrpSpPr>
        <p:grpSpPr>
          <a:xfrm>
            <a:off x="2986839" y="1802274"/>
            <a:ext cx="1584846" cy="804869"/>
            <a:chOff x="900752" y="725842"/>
            <a:chExt cx="1584846" cy="804869"/>
          </a:xfrm>
        </p:grpSpPr>
        <p:sp>
          <p:nvSpPr>
            <p:cNvPr id="99" name="Rectangle 98"/>
            <p:cNvSpPr/>
            <p:nvPr/>
          </p:nvSpPr>
          <p:spPr>
            <a:xfrm>
              <a:off x="900752" y="832514"/>
              <a:ext cx="1473958" cy="698197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 smtClean="0">
                  <a:solidFill>
                    <a:schemeClr val="accent2"/>
                  </a:solidFill>
                </a:rPr>
                <a:t>CREATE PDD</a:t>
              </a:r>
              <a:endParaRPr lang="en-US" sz="1000" b="1" dirty="0">
                <a:solidFill>
                  <a:schemeClr val="accent2"/>
                </a:solidFill>
              </a:endParaRPr>
            </a:p>
          </p:txBody>
        </p:sp>
        <p:sp>
          <p:nvSpPr>
            <p:cNvPr id="100" name="Oval 99"/>
            <p:cNvSpPr/>
            <p:nvPr/>
          </p:nvSpPr>
          <p:spPr>
            <a:xfrm>
              <a:off x="2263822" y="725842"/>
              <a:ext cx="221776" cy="213341"/>
            </a:xfrm>
            <a:prstGeom prst="ellipse">
              <a:avLst/>
            </a:prstGeom>
            <a:solidFill>
              <a:srgbClr val="3F3F3F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cxnSp>
        <p:nvCxnSpPr>
          <p:cNvPr id="25" name="Elbow Connector 24"/>
          <p:cNvCxnSpPr>
            <a:stCxn id="122" idx="6"/>
            <a:endCxn id="83" idx="1"/>
          </p:cNvCxnSpPr>
          <p:nvPr/>
        </p:nvCxnSpPr>
        <p:spPr>
          <a:xfrm flipV="1">
            <a:off x="1027334" y="1213021"/>
            <a:ext cx="283116" cy="1269"/>
          </a:xfrm>
          <a:prstGeom prst="bentConnector3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Elbow Connector 108"/>
          <p:cNvCxnSpPr>
            <a:stCxn id="112" idx="2"/>
            <a:endCxn id="99" idx="0"/>
          </p:cNvCxnSpPr>
          <p:nvPr/>
        </p:nvCxnSpPr>
        <p:spPr>
          <a:xfrm>
            <a:off x="3720603" y="1560783"/>
            <a:ext cx="3215" cy="348163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Elbow Connector 148"/>
          <p:cNvCxnSpPr>
            <a:stCxn id="99" idx="2"/>
            <a:endCxn id="107" idx="1"/>
          </p:cNvCxnSpPr>
          <p:nvPr/>
        </p:nvCxnSpPr>
        <p:spPr>
          <a:xfrm rot="16200000" flipH="1">
            <a:off x="3605108" y="2725853"/>
            <a:ext cx="656170" cy="418750"/>
          </a:xfrm>
          <a:prstGeom prst="bentConnector2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Google Shape;59;p14"/>
          <p:cNvSpPr txBox="1">
            <a:spLocks/>
          </p:cNvSpPr>
          <p:nvPr/>
        </p:nvSpPr>
        <p:spPr>
          <a:xfrm>
            <a:off x="39560" y="19922"/>
            <a:ext cx="2938997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500" b="1" dirty="0" smtClean="0">
                <a:solidFill>
                  <a:schemeClr val="bg1"/>
                </a:solidFill>
              </a:rPr>
              <a:t>PDD CREATION</a:t>
            </a:r>
            <a:endParaRPr lang="en-US" sz="1500" b="1" dirty="0">
              <a:solidFill>
                <a:schemeClr val="bg1"/>
              </a:solidFill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5320145" y="122842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/>
              <a:t>SOLUTIONING</a:t>
            </a:r>
            <a:endParaRPr lang="en-US" sz="900" b="1" dirty="0"/>
          </a:p>
        </p:txBody>
      </p:sp>
      <p:sp>
        <p:nvSpPr>
          <p:cNvPr id="63" name="Rectangle 62"/>
          <p:cNvSpPr/>
          <p:nvPr/>
        </p:nvSpPr>
        <p:spPr>
          <a:xfrm>
            <a:off x="6567054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/>
              <a:t>IMPLEMENTATION</a:t>
            </a:r>
            <a:endParaRPr lang="en-US" sz="900" b="1" dirty="0"/>
          </a:p>
        </p:txBody>
      </p:sp>
      <p:sp>
        <p:nvSpPr>
          <p:cNvPr id="64" name="Rectangle 63"/>
          <p:cNvSpPr/>
          <p:nvPr/>
        </p:nvSpPr>
        <p:spPr>
          <a:xfrm>
            <a:off x="7813963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/>
              <a:t>OPERATIONS</a:t>
            </a:r>
            <a:endParaRPr lang="en-US" sz="900" b="1" dirty="0"/>
          </a:p>
        </p:txBody>
      </p:sp>
      <p:grpSp>
        <p:nvGrpSpPr>
          <p:cNvPr id="66" name="Group 65"/>
          <p:cNvGrpSpPr/>
          <p:nvPr/>
        </p:nvGrpSpPr>
        <p:grpSpPr>
          <a:xfrm>
            <a:off x="2094913" y="4017456"/>
            <a:ext cx="815406" cy="917575"/>
            <a:chOff x="1323975" y="4225925"/>
            <a:chExt cx="815406" cy="917575"/>
          </a:xfrm>
        </p:grpSpPr>
        <p:grpSp>
          <p:nvGrpSpPr>
            <p:cNvPr id="67" name="Group 20"/>
            <p:cNvGrpSpPr>
              <a:grpSpLocks noChangeAspect="1"/>
            </p:cNvGrpSpPr>
            <p:nvPr/>
          </p:nvGrpSpPr>
          <p:grpSpPr bwMode="auto">
            <a:xfrm>
              <a:off x="1326581" y="4225925"/>
              <a:ext cx="812800" cy="917575"/>
              <a:chOff x="2624" y="1337"/>
              <a:chExt cx="512" cy="578"/>
            </a:xfrm>
          </p:grpSpPr>
          <p:sp>
            <p:nvSpPr>
              <p:cNvPr id="69" name="AutoShape 19"/>
              <p:cNvSpPr>
                <a:spLocks noChangeAspect="1" noChangeArrowheads="1" noTextEdit="1"/>
              </p:cNvSpPr>
              <p:nvPr/>
            </p:nvSpPr>
            <p:spPr bwMode="auto">
              <a:xfrm>
                <a:off x="2624" y="1337"/>
                <a:ext cx="512" cy="5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1"/>
              <p:cNvSpPr>
                <a:spLocks/>
              </p:cNvSpPr>
              <p:nvPr/>
            </p:nvSpPr>
            <p:spPr bwMode="auto">
              <a:xfrm>
                <a:off x="2756" y="1345"/>
                <a:ext cx="248" cy="332"/>
              </a:xfrm>
              <a:custGeom>
                <a:avLst/>
                <a:gdLst>
                  <a:gd name="T0" fmla="*/ 165 w 248"/>
                  <a:gd name="T1" fmla="*/ 0 h 332"/>
                  <a:gd name="T2" fmla="*/ 0 w 248"/>
                  <a:gd name="T3" fmla="*/ 0 h 332"/>
                  <a:gd name="T4" fmla="*/ 0 w 248"/>
                  <a:gd name="T5" fmla="*/ 332 h 332"/>
                  <a:gd name="T6" fmla="*/ 248 w 248"/>
                  <a:gd name="T7" fmla="*/ 332 h 332"/>
                  <a:gd name="T8" fmla="*/ 248 w 248"/>
                  <a:gd name="T9" fmla="*/ 83 h 332"/>
                  <a:gd name="T10" fmla="*/ 165 w 248"/>
                  <a:gd name="T11" fmla="*/ 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8" h="332">
                    <a:moveTo>
                      <a:pt x="165" y="0"/>
                    </a:moveTo>
                    <a:lnTo>
                      <a:pt x="0" y="0"/>
                    </a:lnTo>
                    <a:lnTo>
                      <a:pt x="0" y="332"/>
                    </a:lnTo>
                    <a:lnTo>
                      <a:pt x="248" y="332"/>
                    </a:lnTo>
                    <a:lnTo>
                      <a:pt x="248" y="83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2"/>
              <p:cNvSpPr>
                <a:spLocks/>
              </p:cNvSpPr>
              <p:nvPr/>
            </p:nvSpPr>
            <p:spPr bwMode="auto">
              <a:xfrm>
                <a:off x="2756" y="1345"/>
                <a:ext cx="248" cy="332"/>
              </a:xfrm>
              <a:custGeom>
                <a:avLst/>
                <a:gdLst>
                  <a:gd name="T0" fmla="*/ 165 w 248"/>
                  <a:gd name="T1" fmla="*/ 0 h 332"/>
                  <a:gd name="T2" fmla="*/ 0 w 248"/>
                  <a:gd name="T3" fmla="*/ 0 h 332"/>
                  <a:gd name="T4" fmla="*/ 0 w 248"/>
                  <a:gd name="T5" fmla="*/ 332 h 332"/>
                  <a:gd name="T6" fmla="*/ 248 w 248"/>
                  <a:gd name="T7" fmla="*/ 332 h 332"/>
                  <a:gd name="T8" fmla="*/ 248 w 248"/>
                  <a:gd name="T9" fmla="*/ 83 h 332"/>
                  <a:gd name="T10" fmla="*/ 165 w 248"/>
                  <a:gd name="T11" fmla="*/ 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8" h="332">
                    <a:moveTo>
                      <a:pt x="165" y="0"/>
                    </a:moveTo>
                    <a:lnTo>
                      <a:pt x="0" y="0"/>
                    </a:lnTo>
                    <a:lnTo>
                      <a:pt x="0" y="332"/>
                    </a:lnTo>
                    <a:lnTo>
                      <a:pt x="248" y="332"/>
                    </a:lnTo>
                    <a:lnTo>
                      <a:pt x="248" y="83"/>
                    </a:lnTo>
                    <a:lnTo>
                      <a:pt x="165" y="0"/>
                    </a:lnTo>
                    <a:close/>
                  </a:path>
                </a:pathLst>
              </a:custGeom>
              <a:noFill/>
              <a:ln w="793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"/>
              <p:cNvSpPr>
                <a:spLocks/>
              </p:cNvSpPr>
              <p:nvPr/>
            </p:nvSpPr>
            <p:spPr bwMode="auto">
              <a:xfrm>
                <a:off x="2921" y="1345"/>
                <a:ext cx="83" cy="83"/>
              </a:xfrm>
              <a:custGeom>
                <a:avLst/>
                <a:gdLst>
                  <a:gd name="T0" fmla="*/ 0 w 83"/>
                  <a:gd name="T1" fmla="*/ 83 h 83"/>
                  <a:gd name="T2" fmla="*/ 83 w 83"/>
                  <a:gd name="T3" fmla="*/ 83 h 83"/>
                  <a:gd name="T4" fmla="*/ 0 w 83"/>
                  <a:gd name="T5" fmla="*/ 0 h 83"/>
                  <a:gd name="T6" fmla="*/ 0 w 83"/>
                  <a:gd name="T7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3" h="83">
                    <a:moveTo>
                      <a:pt x="0" y="83"/>
                    </a:moveTo>
                    <a:lnTo>
                      <a:pt x="83" y="83"/>
                    </a:lnTo>
                    <a:lnTo>
                      <a:pt x="0" y="0"/>
                    </a:ln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8F8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4"/>
              <p:cNvSpPr>
                <a:spLocks/>
              </p:cNvSpPr>
              <p:nvPr/>
            </p:nvSpPr>
            <p:spPr bwMode="auto">
              <a:xfrm>
                <a:off x="2921" y="1345"/>
                <a:ext cx="83" cy="83"/>
              </a:xfrm>
              <a:custGeom>
                <a:avLst/>
                <a:gdLst>
                  <a:gd name="T0" fmla="*/ 0 w 83"/>
                  <a:gd name="T1" fmla="*/ 83 h 83"/>
                  <a:gd name="T2" fmla="*/ 83 w 83"/>
                  <a:gd name="T3" fmla="*/ 83 h 83"/>
                  <a:gd name="T4" fmla="*/ 0 w 83"/>
                  <a:gd name="T5" fmla="*/ 0 h 83"/>
                  <a:gd name="T6" fmla="*/ 0 w 83"/>
                  <a:gd name="T7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3" h="83">
                    <a:moveTo>
                      <a:pt x="0" y="83"/>
                    </a:moveTo>
                    <a:lnTo>
                      <a:pt x="83" y="83"/>
                    </a:lnTo>
                    <a:lnTo>
                      <a:pt x="0" y="0"/>
                    </a:lnTo>
                    <a:lnTo>
                      <a:pt x="0" y="83"/>
                    </a:lnTo>
                    <a:close/>
                  </a:path>
                </a:pathLst>
              </a:custGeom>
              <a:noFill/>
              <a:ln w="793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"/>
              <p:cNvSpPr>
                <a:spLocks noChangeArrowheads="1"/>
              </p:cNvSpPr>
              <p:nvPr/>
            </p:nvSpPr>
            <p:spPr bwMode="auto">
              <a:xfrm>
                <a:off x="2801" y="1741"/>
                <a:ext cx="0" cy="1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alt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68" name="TextBox 67"/>
            <p:cNvSpPr txBox="1"/>
            <p:nvPr/>
          </p:nvSpPr>
          <p:spPr>
            <a:xfrm>
              <a:off x="1323975" y="4735971"/>
              <a:ext cx="815406" cy="3693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dirty="0" smtClean="0"/>
                <a:t>DEMAND MANAGEMENT TEMPLATE</a:t>
              </a:r>
              <a:endParaRPr lang="en-US" sz="600" dirty="0"/>
            </a:p>
          </p:txBody>
        </p:sp>
      </p:grpSp>
      <p:cxnSp>
        <p:nvCxnSpPr>
          <p:cNvPr id="75" name="Straight Arrow Connector 86"/>
          <p:cNvCxnSpPr/>
          <p:nvPr/>
        </p:nvCxnSpPr>
        <p:spPr>
          <a:xfrm>
            <a:off x="2528044" y="1562118"/>
            <a:ext cx="0" cy="2468038"/>
          </a:xfrm>
          <a:prstGeom prst="straightConnector1">
            <a:avLst/>
          </a:prstGeom>
          <a:ln w="28575">
            <a:solidFill>
              <a:schemeClr val="bg1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Arrow Connector 86"/>
          <p:cNvCxnSpPr/>
          <p:nvPr/>
        </p:nvCxnSpPr>
        <p:spPr>
          <a:xfrm flipV="1">
            <a:off x="2353856" y="1562119"/>
            <a:ext cx="0" cy="2468037"/>
          </a:xfrm>
          <a:prstGeom prst="straightConnector1">
            <a:avLst/>
          </a:prstGeom>
          <a:ln w="28575">
            <a:solidFill>
              <a:schemeClr val="bg1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Arrow Connector 86"/>
          <p:cNvCxnSpPr/>
          <p:nvPr/>
        </p:nvCxnSpPr>
        <p:spPr>
          <a:xfrm flipV="1">
            <a:off x="1530388" y="1576208"/>
            <a:ext cx="0" cy="2334380"/>
          </a:xfrm>
          <a:prstGeom prst="straightConnector1">
            <a:avLst/>
          </a:prstGeom>
          <a:ln w="28575">
            <a:solidFill>
              <a:schemeClr val="bg1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1" name="Group 100"/>
          <p:cNvGrpSpPr/>
          <p:nvPr/>
        </p:nvGrpSpPr>
        <p:grpSpPr>
          <a:xfrm>
            <a:off x="6027704" y="3075122"/>
            <a:ext cx="371071" cy="374662"/>
            <a:chOff x="2978557" y="990529"/>
            <a:chExt cx="371071" cy="374662"/>
          </a:xfrm>
        </p:grpSpPr>
        <p:sp>
          <p:nvSpPr>
            <p:cNvPr id="102" name="Flowchart: Decision 101"/>
            <p:cNvSpPr/>
            <p:nvPr/>
          </p:nvSpPr>
          <p:spPr>
            <a:xfrm>
              <a:off x="2978557" y="990529"/>
              <a:ext cx="371071" cy="374662"/>
            </a:xfrm>
            <a:prstGeom prst="flowChartDecision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/>
            </a:p>
          </p:txBody>
        </p:sp>
        <p:cxnSp>
          <p:nvCxnSpPr>
            <p:cNvPr id="103" name="Straight Connector 102"/>
            <p:cNvCxnSpPr/>
            <p:nvPr/>
          </p:nvCxnSpPr>
          <p:spPr>
            <a:xfrm>
              <a:off x="3065463" y="1076973"/>
              <a:ext cx="195262" cy="198344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/>
            <p:cNvCxnSpPr/>
            <p:nvPr/>
          </p:nvCxnSpPr>
          <p:spPr>
            <a:xfrm flipH="1">
              <a:off x="3071813" y="1081937"/>
              <a:ext cx="180184" cy="187628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5" name="Elbow Connector 148"/>
          <p:cNvCxnSpPr>
            <a:stCxn id="107" idx="3"/>
            <a:endCxn id="102" idx="1"/>
          </p:cNvCxnSpPr>
          <p:nvPr/>
        </p:nvCxnSpPr>
        <p:spPr>
          <a:xfrm flipV="1">
            <a:off x="5616526" y="3262453"/>
            <a:ext cx="411178" cy="860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TextBox 107"/>
          <p:cNvSpPr txBox="1"/>
          <p:nvPr/>
        </p:nvSpPr>
        <p:spPr>
          <a:xfrm>
            <a:off x="5754435" y="3458643"/>
            <a:ext cx="107114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bg1"/>
                </a:solidFill>
              </a:rPr>
              <a:t>Acceptable?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6250761" y="2725425"/>
            <a:ext cx="380232" cy="276999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r"/>
            <a:r>
              <a:rPr lang="en-US" sz="1200" smtClean="0">
                <a:solidFill>
                  <a:schemeClr val="bg1"/>
                </a:solidFill>
              </a:rPr>
              <a:t>No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14" name="TextBox 113"/>
          <p:cNvSpPr txBox="1"/>
          <p:nvPr/>
        </p:nvSpPr>
        <p:spPr>
          <a:xfrm>
            <a:off x="6339067" y="3235766"/>
            <a:ext cx="449162" cy="276999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bg1"/>
                </a:solidFill>
              </a:rPr>
              <a:t>Yes</a:t>
            </a:r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115" name="Elbow Connector 100"/>
          <p:cNvCxnSpPr>
            <a:stCxn id="102" idx="0"/>
            <a:endCxn id="119" idx="2"/>
          </p:cNvCxnSpPr>
          <p:nvPr/>
        </p:nvCxnSpPr>
        <p:spPr>
          <a:xfrm flipH="1" flipV="1">
            <a:off x="6202621" y="2604877"/>
            <a:ext cx="10619" cy="470245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Group 37"/>
          <p:cNvGrpSpPr/>
          <p:nvPr/>
        </p:nvGrpSpPr>
        <p:grpSpPr>
          <a:xfrm>
            <a:off x="1211835" y="3908600"/>
            <a:ext cx="815406" cy="971711"/>
            <a:chOff x="6160331" y="4016176"/>
            <a:chExt cx="815406" cy="971711"/>
          </a:xfrm>
        </p:grpSpPr>
        <p:grpSp>
          <p:nvGrpSpPr>
            <p:cNvPr id="148" name="Group 20"/>
            <p:cNvGrpSpPr>
              <a:grpSpLocks noChangeAspect="1"/>
            </p:cNvGrpSpPr>
            <p:nvPr/>
          </p:nvGrpSpPr>
          <p:grpSpPr bwMode="auto">
            <a:xfrm>
              <a:off x="6162937" y="4016176"/>
              <a:ext cx="812800" cy="917575"/>
              <a:chOff x="2624" y="1337"/>
              <a:chExt cx="512" cy="578"/>
            </a:xfrm>
          </p:grpSpPr>
          <p:sp>
            <p:nvSpPr>
              <p:cNvPr id="152" name="AutoShape 19"/>
              <p:cNvSpPr>
                <a:spLocks noChangeAspect="1" noChangeArrowheads="1" noTextEdit="1"/>
              </p:cNvSpPr>
              <p:nvPr/>
            </p:nvSpPr>
            <p:spPr bwMode="auto">
              <a:xfrm>
                <a:off x="2624" y="1337"/>
                <a:ext cx="512" cy="5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" name="Freeform 21"/>
              <p:cNvSpPr>
                <a:spLocks/>
              </p:cNvSpPr>
              <p:nvPr/>
            </p:nvSpPr>
            <p:spPr bwMode="auto">
              <a:xfrm>
                <a:off x="2756" y="1345"/>
                <a:ext cx="248" cy="332"/>
              </a:xfrm>
              <a:custGeom>
                <a:avLst/>
                <a:gdLst>
                  <a:gd name="T0" fmla="*/ 165 w 248"/>
                  <a:gd name="T1" fmla="*/ 0 h 332"/>
                  <a:gd name="T2" fmla="*/ 0 w 248"/>
                  <a:gd name="T3" fmla="*/ 0 h 332"/>
                  <a:gd name="T4" fmla="*/ 0 w 248"/>
                  <a:gd name="T5" fmla="*/ 332 h 332"/>
                  <a:gd name="T6" fmla="*/ 248 w 248"/>
                  <a:gd name="T7" fmla="*/ 332 h 332"/>
                  <a:gd name="T8" fmla="*/ 248 w 248"/>
                  <a:gd name="T9" fmla="*/ 83 h 332"/>
                  <a:gd name="T10" fmla="*/ 165 w 248"/>
                  <a:gd name="T11" fmla="*/ 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8" h="332">
                    <a:moveTo>
                      <a:pt x="165" y="0"/>
                    </a:moveTo>
                    <a:lnTo>
                      <a:pt x="0" y="0"/>
                    </a:lnTo>
                    <a:lnTo>
                      <a:pt x="0" y="332"/>
                    </a:lnTo>
                    <a:lnTo>
                      <a:pt x="248" y="332"/>
                    </a:lnTo>
                    <a:lnTo>
                      <a:pt x="248" y="83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" name="Freeform 22"/>
              <p:cNvSpPr>
                <a:spLocks/>
              </p:cNvSpPr>
              <p:nvPr/>
            </p:nvSpPr>
            <p:spPr bwMode="auto">
              <a:xfrm>
                <a:off x="2756" y="1345"/>
                <a:ext cx="248" cy="332"/>
              </a:xfrm>
              <a:custGeom>
                <a:avLst/>
                <a:gdLst>
                  <a:gd name="T0" fmla="*/ 165 w 248"/>
                  <a:gd name="T1" fmla="*/ 0 h 332"/>
                  <a:gd name="T2" fmla="*/ 0 w 248"/>
                  <a:gd name="T3" fmla="*/ 0 h 332"/>
                  <a:gd name="T4" fmla="*/ 0 w 248"/>
                  <a:gd name="T5" fmla="*/ 332 h 332"/>
                  <a:gd name="T6" fmla="*/ 248 w 248"/>
                  <a:gd name="T7" fmla="*/ 332 h 332"/>
                  <a:gd name="T8" fmla="*/ 248 w 248"/>
                  <a:gd name="T9" fmla="*/ 83 h 332"/>
                  <a:gd name="T10" fmla="*/ 165 w 248"/>
                  <a:gd name="T11" fmla="*/ 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8" h="332">
                    <a:moveTo>
                      <a:pt x="165" y="0"/>
                    </a:moveTo>
                    <a:lnTo>
                      <a:pt x="0" y="0"/>
                    </a:lnTo>
                    <a:lnTo>
                      <a:pt x="0" y="332"/>
                    </a:lnTo>
                    <a:lnTo>
                      <a:pt x="248" y="332"/>
                    </a:lnTo>
                    <a:lnTo>
                      <a:pt x="248" y="83"/>
                    </a:lnTo>
                    <a:lnTo>
                      <a:pt x="165" y="0"/>
                    </a:lnTo>
                    <a:close/>
                  </a:path>
                </a:pathLst>
              </a:custGeom>
              <a:noFill/>
              <a:ln w="793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" name="Freeform 23"/>
              <p:cNvSpPr>
                <a:spLocks/>
              </p:cNvSpPr>
              <p:nvPr/>
            </p:nvSpPr>
            <p:spPr bwMode="auto">
              <a:xfrm>
                <a:off x="2921" y="1345"/>
                <a:ext cx="83" cy="83"/>
              </a:xfrm>
              <a:custGeom>
                <a:avLst/>
                <a:gdLst>
                  <a:gd name="T0" fmla="*/ 0 w 83"/>
                  <a:gd name="T1" fmla="*/ 83 h 83"/>
                  <a:gd name="T2" fmla="*/ 83 w 83"/>
                  <a:gd name="T3" fmla="*/ 83 h 83"/>
                  <a:gd name="T4" fmla="*/ 0 w 83"/>
                  <a:gd name="T5" fmla="*/ 0 h 83"/>
                  <a:gd name="T6" fmla="*/ 0 w 83"/>
                  <a:gd name="T7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3" h="83">
                    <a:moveTo>
                      <a:pt x="0" y="83"/>
                    </a:moveTo>
                    <a:lnTo>
                      <a:pt x="83" y="83"/>
                    </a:lnTo>
                    <a:lnTo>
                      <a:pt x="0" y="0"/>
                    </a:ln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8F8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" name="Freeform 24"/>
              <p:cNvSpPr>
                <a:spLocks/>
              </p:cNvSpPr>
              <p:nvPr/>
            </p:nvSpPr>
            <p:spPr bwMode="auto">
              <a:xfrm>
                <a:off x="2921" y="1345"/>
                <a:ext cx="83" cy="83"/>
              </a:xfrm>
              <a:custGeom>
                <a:avLst/>
                <a:gdLst>
                  <a:gd name="T0" fmla="*/ 0 w 83"/>
                  <a:gd name="T1" fmla="*/ 83 h 83"/>
                  <a:gd name="T2" fmla="*/ 83 w 83"/>
                  <a:gd name="T3" fmla="*/ 83 h 83"/>
                  <a:gd name="T4" fmla="*/ 0 w 83"/>
                  <a:gd name="T5" fmla="*/ 0 h 83"/>
                  <a:gd name="T6" fmla="*/ 0 w 83"/>
                  <a:gd name="T7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3" h="83">
                    <a:moveTo>
                      <a:pt x="0" y="83"/>
                    </a:moveTo>
                    <a:lnTo>
                      <a:pt x="83" y="83"/>
                    </a:lnTo>
                    <a:lnTo>
                      <a:pt x="0" y="0"/>
                    </a:lnTo>
                    <a:lnTo>
                      <a:pt x="0" y="83"/>
                    </a:lnTo>
                    <a:close/>
                  </a:path>
                </a:pathLst>
              </a:custGeom>
              <a:noFill/>
              <a:ln w="793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" name="Rectangle 28"/>
              <p:cNvSpPr>
                <a:spLocks noChangeArrowheads="1"/>
              </p:cNvSpPr>
              <p:nvPr/>
            </p:nvSpPr>
            <p:spPr bwMode="auto">
              <a:xfrm>
                <a:off x="2801" y="1741"/>
                <a:ext cx="0" cy="1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alt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151" name="TextBox 150"/>
            <p:cNvSpPr txBox="1"/>
            <p:nvPr/>
          </p:nvSpPr>
          <p:spPr>
            <a:xfrm>
              <a:off x="6160331" y="4526222"/>
              <a:ext cx="815406" cy="27699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dirty="0" smtClean="0"/>
                <a:t>INITIAL BUSINESS CASE</a:t>
              </a:r>
              <a:endParaRPr lang="en-US" sz="600" dirty="0"/>
            </a:p>
          </p:txBody>
        </p:sp>
        <p:sp>
          <p:nvSpPr>
            <p:cNvPr id="161" name="TextBox 160"/>
            <p:cNvSpPr txBox="1"/>
            <p:nvPr/>
          </p:nvSpPr>
          <p:spPr>
            <a:xfrm>
              <a:off x="6160331" y="4803221"/>
              <a:ext cx="815406" cy="18466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dirty="0" smtClean="0"/>
                <a:t>APPROVED</a:t>
              </a:r>
              <a:endParaRPr lang="en-US" sz="600" dirty="0"/>
            </a:p>
          </p:txBody>
        </p:sp>
      </p:grpSp>
      <p:sp>
        <p:nvSpPr>
          <p:cNvPr id="162" name="Oval 161"/>
          <p:cNvSpPr/>
          <p:nvPr/>
        </p:nvSpPr>
        <p:spPr>
          <a:xfrm>
            <a:off x="8590283" y="3080052"/>
            <a:ext cx="369454" cy="361931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</a:t>
            </a:r>
          </a:p>
        </p:txBody>
      </p:sp>
      <p:sp>
        <p:nvSpPr>
          <p:cNvPr id="76" name="Rectangle 75"/>
          <p:cNvSpPr/>
          <p:nvPr/>
        </p:nvSpPr>
        <p:spPr>
          <a:xfrm>
            <a:off x="2826327" y="122842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/>
              <a:t>IDEATION</a:t>
            </a:r>
            <a:endParaRPr lang="en-US" sz="900" b="1" dirty="0"/>
          </a:p>
        </p:txBody>
      </p:sp>
      <p:sp>
        <p:nvSpPr>
          <p:cNvPr id="77" name="Rectangle 76"/>
          <p:cNvSpPr/>
          <p:nvPr/>
        </p:nvSpPr>
        <p:spPr>
          <a:xfrm>
            <a:off x="4073236" y="124687"/>
            <a:ext cx="1246909" cy="259773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/>
              <a:t>DISCOVERY</a:t>
            </a:r>
            <a:endParaRPr lang="en-US" sz="900" b="1" dirty="0"/>
          </a:p>
        </p:txBody>
      </p:sp>
      <p:sp>
        <p:nvSpPr>
          <p:cNvPr id="78" name="Rectangle 77"/>
          <p:cNvSpPr/>
          <p:nvPr/>
        </p:nvSpPr>
        <p:spPr>
          <a:xfrm rot="16200000">
            <a:off x="-184580" y="3047991"/>
            <a:ext cx="1032373" cy="42307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2"/>
                </a:solidFill>
              </a:rPr>
              <a:t>PROCESS OWNER</a:t>
            </a:r>
            <a:endParaRPr lang="en-US" sz="1000" b="1" dirty="0">
              <a:solidFill>
                <a:schemeClr val="accent2"/>
              </a:solidFill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120061" y="2752723"/>
            <a:ext cx="8938041" cy="102299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b="1" dirty="0">
              <a:solidFill>
                <a:schemeClr val="accent3">
                  <a:lumMod val="40000"/>
                  <a:lumOff val="60000"/>
                </a:schemeClr>
              </a:solidFill>
            </a:endParaRPr>
          </a:p>
        </p:txBody>
      </p:sp>
      <p:grpSp>
        <p:nvGrpSpPr>
          <p:cNvPr id="106" name="Group 105"/>
          <p:cNvGrpSpPr/>
          <p:nvPr/>
        </p:nvGrpSpPr>
        <p:grpSpPr>
          <a:xfrm>
            <a:off x="4142568" y="2798628"/>
            <a:ext cx="1624375" cy="813783"/>
            <a:chOff x="2826327" y="1813695"/>
            <a:chExt cx="1624375" cy="813783"/>
          </a:xfrm>
        </p:grpSpPr>
        <p:sp>
          <p:nvSpPr>
            <p:cNvPr id="107" name="Rectangle 106"/>
            <p:cNvSpPr/>
            <p:nvPr/>
          </p:nvSpPr>
          <p:spPr>
            <a:xfrm>
              <a:off x="2826327" y="1929281"/>
              <a:ext cx="1473958" cy="698197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 smtClean="0">
                  <a:solidFill>
                    <a:schemeClr val="accent2"/>
                  </a:solidFill>
                </a:rPr>
                <a:t>REVIEW PDD</a:t>
              </a:r>
              <a:endParaRPr lang="en-US" sz="1000" b="1" dirty="0">
                <a:solidFill>
                  <a:schemeClr val="accent2"/>
                </a:solidFill>
              </a:endParaRPr>
            </a:p>
          </p:txBody>
        </p:sp>
        <p:sp>
          <p:nvSpPr>
            <p:cNvPr id="116" name="Oval 115"/>
            <p:cNvSpPr/>
            <p:nvPr/>
          </p:nvSpPr>
          <p:spPr>
            <a:xfrm>
              <a:off x="4189397" y="1822609"/>
              <a:ext cx="221776" cy="213341"/>
            </a:xfrm>
            <a:prstGeom prst="ellipse">
              <a:avLst/>
            </a:prstGeom>
            <a:solidFill>
              <a:srgbClr val="3F3F3F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117" name="TextBox 116"/>
            <p:cNvSpPr txBox="1"/>
            <p:nvPr/>
          </p:nvSpPr>
          <p:spPr>
            <a:xfrm>
              <a:off x="4137796" y="1813695"/>
              <a:ext cx="312906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dirty="0" smtClean="0">
                  <a:solidFill>
                    <a:schemeClr val="bg1"/>
                  </a:solidFill>
                </a:rPr>
                <a:t>12</a:t>
              </a:r>
              <a:endParaRPr lang="en-US" sz="9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8" name="Group 117"/>
          <p:cNvGrpSpPr/>
          <p:nvPr/>
        </p:nvGrpSpPr>
        <p:grpSpPr>
          <a:xfrm>
            <a:off x="5465642" y="1791094"/>
            <a:ext cx="1624375" cy="813783"/>
            <a:chOff x="2826327" y="1813695"/>
            <a:chExt cx="1624375" cy="813783"/>
          </a:xfrm>
        </p:grpSpPr>
        <p:sp>
          <p:nvSpPr>
            <p:cNvPr id="119" name="Rectangle 118"/>
            <p:cNvSpPr/>
            <p:nvPr/>
          </p:nvSpPr>
          <p:spPr>
            <a:xfrm>
              <a:off x="2826327" y="1929281"/>
              <a:ext cx="1473958" cy="698197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smtClean="0">
                  <a:solidFill>
                    <a:schemeClr val="accent2"/>
                  </a:solidFill>
                </a:rPr>
                <a:t>MODIFY PDD</a:t>
              </a:r>
              <a:endParaRPr lang="en-US" sz="1000" b="1" dirty="0">
                <a:solidFill>
                  <a:schemeClr val="accent2"/>
                </a:solidFill>
              </a:endParaRPr>
            </a:p>
          </p:txBody>
        </p:sp>
        <p:sp>
          <p:nvSpPr>
            <p:cNvPr id="120" name="Oval 119"/>
            <p:cNvSpPr/>
            <p:nvPr/>
          </p:nvSpPr>
          <p:spPr>
            <a:xfrm>
              <a:off x="4189397" y="1822609"/>
              <a:ext cx="221776" cy="213341"/>
            </a:xfrm>
            <a:prstGeom prst="ellipse">
              <a:avLst/>
            </a:prstGeom>
            <a:solidFill>
              <a:srgbClr val="3F3F3F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123" name="TextBox 122"/>
            <p:cNvSpPr txBox="1"/>
            <p:nvPr/>
          </p:nvSpPr>
          <p:spPr>
            <a:xfrm>
              <a:off x="4137796" y="1813695"/>
              <a:ext cx="312906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dirty="0" smtClean="0">
                  <a:solidFill>
                    <a:schemeClr val="bg1"/>
                  </a:solidFill>
                </a:rPr>
                <a:t>13</a:t>
              </a:r>
              <a:endParaRPr lang="en-US" sz="9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24" name="Group 123"/>
          <p:cNvGrpSpPr/>
          <p:nvPr/>
        </p:nvGrpSpPr>
        <p:grpSpPr>
          <a:xfrm>
            <a:off x="6772240" y="2796137"/>
            <a:ext cx="1624375" cy="813783"/>
            <a:chOff x="2826327" y="1813695"/>
            <a:chExt cx="1624375" cy="813783"/>
          </a:xfrm>
        </p:grpSpPr>
        <p:sp>
          <p:nvSpPr>
            <p:cNvPr id="125" name="Rectangle 124"/>
            <p:cNvSpPr/>
            <p:nvPr/>
          </p:nvSpPr>
          <p:spPr>
            <a:xfrm>
              <a:off x="2826327" y="1929281"/>
              <a:ext cx="1473958" cy="698197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smtClean="0">
                  <a:solidFill>
                    <a:schemeClr val="accent2"/>
                  </a:solidFill>
                </a:rPr>
                <a:t>SIGN-OFF </a:t>
              </a:r>
              <a:r>
                <a:rPr lang="en-US" sz="1000" b="1" dirty="0" smtClean="0">
                  <a:solidFill>
                    <a:schemeClr val="accent2"/>
                  </a:solidFill>
                </a:rPr>
                <a:t>PDD</a:t>
              </a:r>
              <a:endParaRPr lang="en-US" sz="1000" b="1" dirty="0">
                <a:solidFill>
                  <a:schemeClr val="accent2"/>
                </a:solidFill>
              </a:endParaRPr>
            </a:p>
          </p:txBody>
        </p:sp>
        <p:sp>
          <p:nvSpPr>
            <p:cNvPr id="126" name="Oval 125"/>
            <p:cNvSpPr/>
            <p:nvPr/>
          </p:nvSpPr>
          <p:spPr>
            <a:xfrm>
              <a:off x="4189397" y="1822609"/>
              <a:ext cx="221776" cy="213341"/>
            </a:xfrm>
            <a:prstGeom prst="ellipse">
              <a:avLst/>
            </a:prstGeom>
            <a:solidFill>
              <a:srgbClr val="3F3F3F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127" name="TextBox 126"/>
            <p:cNvSpPr txBox="1"/>
            <p:nvPr/>
          </p:nvSpPr>
          <p:spPr>
            <a:xfrm>
              <a:off x="4137796" y="1813695"/>
              <a:ext cx="312906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dirty="0" smtClean="0">
                  <a:solidFill>
                    <a:schemeClr val="bg1"/>
                  </a:solidFill>
                </a:rPr>
                <a:t>14</a:t>
              </a:r>
              <a:endParaRPr lang="en-US" sz="900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128" name="Elbow Connector 148"/>
          <p:cNvCxnSpPr>
            <a:stCxn id="102" idx="3"/>
            <a:endCxn id="125" idx="1"/>
          </p:cNvCxnSpPr>
          <p:nvPr/>
        </p:nvCxnSpPr>
        <p:spPr>
          <a:xfrm flipV="1">
            <a:off x="6398775" y="3260822"/>
            <a:ext cx="373465" cy="1631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Elbow Connector 148"/>
          <p:cNvCxnSpPr>
            <a:stCxn id="125" idx="3"/>
            <a:endCxn id="162" idx="2"/>
          </p:cNvCxnSpPr>
          <p:nvPr/>
        </p:nvCxnSpPr>
        <p:spPr>
          <a:xfrm>
            <a:off x="8246198" y="3260822"/>
            <a:ext cx="344085" cy="196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Arrow Connector 86"/>
          <p:cNvCxnSpPr/>
          <p:nvPr/>
        </p:nvCxnSpPr>
        <p:spPr>
          <a:xfrm>
            <a:off x="3510316" y="2604877"/>
            <a:ext cx="0" cy="1334830"/>
          </a:xfrm>
          <a:prstGeom prst="straightConnector1">
            <a:avLst/>
          </a:prstGeom>
          <a:ln w="28575">
            <a:solidFill>
              <a:schemeClr val="bg1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Arrow Connector 86"/>
          <p:cNvCxnSpPr/>
          <p:nvPr/>
        </p:nvCxnSpPr>
        <p:spPr>
          <a:xfrm flipV="1">
            <a:off x="3336128" y="2604877"/>
            <a:ext cx="0" cy="1347160"/>
          </a:xfrm>
          <a:prstGeom prst="straightConnector1">
            <a:avLst/>
          </a:prstGeom>
          <a:ln w="28575">
            <a:solidFill>
              <a:schemeClr val="bg1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Arrow Connector 96"/>
          <p:cNvCxnSpPr>
            <a:endCxn id="136" idx="4"/>
          </p:cNvCxnSpPr>
          <p:nvPr/>
        </p:nvCxnSpPr>
        <p:spPr>
          <a:xfrm rot="10800000" flipV="1">
            <a:off x="3665478" y="3609919"/>
            <a:ext cx="991047" cy="552000"/>
          </a:xfrm>
          <a:prstGeom prst="bentConnector3">
            <a:avLst>
              <a:gd name="adj1" fmla="val 378"/>
            </a:avLst>
          </a:prstGeom>
          <a:ln w="28575">
            <a:solidFill>
              <a:schemeClr val="bg1"/>
            </a:solidFill>
            <a:prstDash val="sysDash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4" name="Group 143"/>
          <p:cNvGrpSpPr/>
          <p:nvPr/>
        </p:nvGrpSpPr>
        <p:grpSpPr>
          <a:xfrm>
            <a:off x="3070083" y="3907320"/>
            <a:ext cx="815406" cy="917575"/>
            <a:chOff x="6160331" y="4016176"/>
            <a:chExt cx="815406" cy="917575"/>
          </a:xfrm>
        </p:grpSpPr>
        <p:grpSp>
          <p:nvGrpSpPr>
            <p:cNvPr id="145" name="Group 20"/>
            <p:cNvGrpSpPr>
              <a:grpSpLocks noChangeAspect="1"/>
            </p:cNvGrpSpPr>
            <p:nvPr/>
          </p:nvGrpSpPr>
          <p:grpSpPr bwMode="auto">
            <a:xfrm>
              <a:off x="6162937" y="4016176"/>
              <a:ext cx="812800" cy="917575"/>
              <a:chOff x="2624" y="1337"/>
              <a:chExt cx="512" cy="578"/>
            </a:xfrm>
          </p:grpSpPr>
          <p:sp>
            <p:nvSpPr>
              <p:cNvPr id="154" name="AutoShape 19"/>
              <p:cNvSpPr>
                <a:spLocks noChangeAspect="1" noChangeArrowheads="1" noTextEdit="1"/>
              </p:cNvSpPr>
              <p:nvPr/>
            </p:nvSpPr>
            <p:spPr bwMode="auto">
              <a:xfrm>
                <a:off x="2624" y="1337"/>
                <a:ext cx="512" cy="5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" name="Freeform 21"/>
              <p:cNvSpPr>
                <a:spLocks/>
              </p:cNvSpPr>
              <p:nvPr/>
            </p:nvSpPr>
            <p:spPr bwMode="auto">
              <a:xfrm>
                <a:off x="2756" y="1345"/>
                <a:ext cx="248" cy="332"/>
              </a:xfrm>
              <a:custGeom>
                <a:avLst/>
                <a:gdLst>
                  <a:gd name="T0" fmla="*/ 165 w 248"/>
                  <a:gd name="T1" fmla="*/ 0 h 332"/>
                  <a:gd name="T2" fmla="*/ 0 w 248"/>
                  <a:gd name="T3" fmla="*/ 0 h 332"/>
                  <a:gd name="T4" fmla="*/ 0 w 248"/>
                  <a:gd name="T5" fmla="*/ 332 h 332"/>
                  <a:gd name="T6" fmla="*/ 248 w 248"/>
                  <a:gd name="T7" fmla="*/ 332 h 332"/>
                  <a:gd name="T8" fmla="*/ 248 w 248"/>
                  <a:gd name="T9" fmla="*/ 83 h 332"/>
                  <a:gd name="T10" fmla="*/ 165 w 248"/>
                  <a:gd name="T11" fmla="*/ 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8" h="332">
                    <a:moveTo>
                      <a:pt x="165" y="0"/>
                    </a:moveTo>
                    <a:lnTo>
                      <a:pt x="0" y="0"/>
                    </a:lnTo>
                    <a:lnTo>
                      <a:pt x="0" y="332"/>
                    </a:lnTo>
                    <a:lnTo>
                      <a:pt x="248" y="332"/>
                    </a:lnTo>
                    <a:lnTo>
                      <a:pt x="248" y="83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" name="Freeform 22"/>
              <p:cNvSpPr>
                <a:spLocks/>
              </p:cNvSpPr>
              <p:nvPr/>
            </p:nvSpPr>
            <p:spPr bwMode="auto">
              <a:xfrm>
                <a:off x="2756" y="1345"/>
                <a:ext cx="248" cy="332"/>
              </a:xfrm>
              <a:custGeom>
                <a:avLst/>
                <a:gdLst>
                  <a:gd name="T0" fmla="*/ 165 w 248"/>
                  <a:gd name="T1" fmla="*/ 0 h 332"/>
                  <a:gd name="T2" fmla="*/ 0 w 248"/>
                  <a:gd name="T3" fmla="*/ 0 h 332"/>
                  <a:gd name="T4" fmla="*/ 0 w 248"/>
                  <a:gd name="T5" fmla="*/ 332 h 332"/>
                  <a:gd name="T6" fmla="*/ 248 w 248"/>
                  <a:gd name="T7" fmla="*/ 332 h 332"/>
                  <a:gd name="T8" fmla="*/ 248 w 248"/>
                  <a:gd name="T9" fmla="*/ 83 h 332"/>
                  <a:gd name="T10" fmla="*/ 165 w 248"/>
                  <a:gd name="T11" fmla="*/ 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8" h="332">
                    <a:moveTo>
                      <a:pt x="165" y="0"/>
                    </a:moveTo>
                    <a:lnTo>
                      <a:pt x="0" y="0"/>
                    </a:lnTo>
                    <a:lnTo>
                      <a:pt x="0" y="332"/>
                    </a:lnTo>
                    <a:lnTo>
                      <a:pt x="248" y="332"/>
                    </a:lnTo>
                    <a:lnTo>
                      <a:pt x="248" y="83"/>
                    </a:lnTo>
                    <a:lnTo>
                      <a:pt x="165" y="0"/>
                    </a:lnTo>
                    <a:close/>
                  </a:path>
                </a:pathLst>
              </a:custGeom>
              <a:noFill/>
              <a:ln w="793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" name="Freeform 23"/>
              <p:cNvSpPr>
                <a:spLocks/>
              </p:cNvSpPr>
              <p:nvPr/>
            </p:nvSpPr>
            <p:spPr bwMode="auto">
              <a:xfrm>
                <a:off x="2921" y="1345"/>
                <a:ext cx="83" cy="83"/>
              </a:xfrm>
              <a:custGeom>
                <a:avLst/>
                <a:gdLst>
                  <a:gd name="T0" fmla="*/ 0 w 83"/>
                  <a:gd name="T1" fmla="*/ 83 h 83"/>
                  <a:gd name="T2" fmla="*/ 83 w 83"/>
                  <a:gd name="T3" fmla="*/ 83 h 83"/>
                  <a:gd name="T4" fmla="*/ 0 w 83"/>
                  <a:gd name="T5" fmla="*/ 0 h 83"/>
                  <a:gd name="T6" fmla="*/ 0 w 83"/>
                  <a:gd name="T7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3" h="83">
                    <a:moveTo>
                      <a:pt x="0" y="83"/>
                    </a:moveTo>
                    <a:lnTo>
                      <a:pt x="83" y="83"/>
                    </a:lnTo>
                    <a:lnTo>
                      <a:pt x="0" y="0"/>
                    </a:ln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8F8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" name="Freeform 24"/>
              <p:cNvSpPr>
                <a:spLocks/>
              </p:cNvSpPr>
              <p:nvPr/>
            </p:nvSpPr>
            <p:spPr bwMode="auto">
              <a:xfrm>
                <a:off x="2921" y="1345"/>
                <a:ext cx="83" cy="83"/>
              </a:xfrm>
              <a:custGeom>
                <a:avLst/>
                <a:gdLst>
                  <a:gd name="T0" fmla="*/ 0 w 83"/>
                  <a:gd name="T1" fmla="*/ 83 h 83"/>
                  <a:gd name="T2" fmla="*/ 83 w 83"/>
                  <a:gd name="T3" fmla="*/ 83 h 83"/>
                  <a:gd name="T4" fmla="*/ 0 w 83"/>
                  <a:gd name="T5" fmla="*/ 0 h 83"/>
                  <a:gd name="T6" fmla="*/ 0 w 83"/>
                  <a:gd name="T7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3" h="83">
                    <a:moveTo>
                      <a:pt x="0" y="83"/>
                    </a:moveTo>
                    <a:lnTo>
                      <a:pt x="83" y="83"/>
                    </a:lnTo>
                    <a:lnTo>
                      <a:pt x="0" y="0"/>
                    </a:lnTo>
                    <a:lnTo>
                      <a:pt x="0" y="83"/>
                    </a:lnTo>
                    <a:close/>
                  </a:path>
                </a:pathLst>
              </a:custGeom>
              <a:noFill/>
              <a:ln w="793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" name="Rectangle 28"/>
              <p:cNvSpPr>
                <a:spLocks noChangeArrowheads="1"/>
              </p:cNvSpPr>
              <p:nvPr/>
            </p:nvSpPr>
            <p:spPr bwMode="auto">
              <a:xfrm>
                <a:off x="2801" y="1741"/>
                <a:ext cx="0" cy="1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alt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147" name="TextBox 146"/>
            <p:cNvSpPr txBox="1"/>
            <p:nvPr/>
          </p:nvSpPr>
          <p:spPr>
            <a:xfrm>
              <a:off x="6160331" y="4526222"/>
              <a:ext cx="815406" cy="18466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dirty="0" smtClean="0"/>
                <a:t>PDD</a:t>
              </a:r>
              <a:endParaRPr lang="en-US" sz="600" dirty="0"/>
            </a:p>
          </p:txBody>
        </p:sp>
        <p:sp>
          <p:nvSpPr>
            <p:cNvPr id="150" name="TextBox 149"/>
            <p:cNvSpPr txBox="1"/>
            <p:nvPr/>
          </p:nvSpPr>
          <p:spPr>
            <a:xfrm>
              <a:off x="6160331" y="4711013"/>
              <a:ext cx="815406" cy="18466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dirty="0" smtClean="0"/>
                <a:t>INITIAL</a:t>
              </a:r>
              <a:endParaRPr lang="en-US" sz="600" dirty="0"/>
            </a:p>
          </p:txBody>
        </p:sp>
      </p:grpSp>
      <p:grpSp>
        <p:nvGrpSpPr>
          <p:cNvPr id="48" name="Group 47"/>
          <p:cNvGrpSpPr/>
          <p:nvPr/>
        </p:nvGrpSpPr>
        <p:grpSpPr>
          <a:xfrm>
            <a:off x="6956325" y="4016176"/>
            <a:ext cx="816686" cy="917575"/>
            <a:chOff x="5780673" y="4016176"/>
            <a:chExt cx="816686" cy="917575"/>
          </a:xfrm>
        </p:grpSpPr>
        <p:grpSp>
          <p:nvGrpSpPr>
            <p:cNvPr id="170" name="Group 20"/>
            <p:cNvGrpSpPr>
              <a:grpSpLocks noChangeAspect="1"/>
            </p:cNvGrpSpPr>
            <p:nvPr/>
          </p:nvGrpSpPr>
          <p:grpSpPr bwMode="auto">
            <a:xfrm>
              <a:off x="5784559" y="4016176"/>
              <a:ext cx="812800" cy="917575"/>
              <a:chOff x="2624" y="1337"/>
              <a:chExt cx="512" cy="578"/>
            </a:xfrm>
          </p:grpSpPr>
          <p:sp>
            <p:nvSpPr>
              <p:cNvPr id="172" name="AutoShape 19"/>
              <p:cNvSpPr>
                <a:spLocks noChangeAspect="1" noChangeArrowheads="1" noTextEdit="1"/>
              </p:cNvSpPr>
              <p:nvPr/>
            </p:nvSpPr>
            <p:spPr bwMode="auto">
              <a:xfrm>
                <a:off x="2624" y="1337"/>
                <a:ext cx="512" cy="5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" name="Freeform 21"/>
              <p:cNvSpPr>
                <a:spLocks/>
              </p:cNvSpPr>
              <p:nvPr/>
            </p:nvSpPr>
            <p:spPr bwMode="auto">
              <a:xfrm>
                <a:off x="2756" y="1345"/>
                <a:ext cx="248" cy="332"/>
              </a:xfrm>
              <a:custGeom>
                <a:avLst/>
                <a:gdLst>
                  <a:gd name="T0" fmla="*/ 165 w 248"/>
                  <a:gd name="T1" fmla="*/ 0 h 332"/>
                  <a:gd name="T2" fmla="*/ 0 w 248"/>
                  <a:gd name="T3" fmla="*/ 0 h 332"/>
                  <a:gd name="T4" fmla="*/ 0 w 248"/>
                  <a:gd name="T5" fmla="*/ 332 h 332"/>
                  <a:gd name="T6" fmla="*/ 248 w 248"/>
                  <a:gd name="T7" fmla="*/ 332 h 332"/>
                  <a:gd name="T8" fmla="*/ 248 w 248"/>
                  <a:gd name="T9" fmla="*/ 83 h 332"/>
                  <a:gd name="T10" fmla="*/ 165 w 248"/>
                  <a:gd name="T11" fmla="*/ 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8" h="332">
                    <a:moveTo>
                      <a:pt x="165" y="0"/>
                    </a:moveTo>
                    <a:lnTo>
                      <a:pt x="0" y="0"/>
                    </a:lnTo>
                    <a:lnTo>
                      <a:pt x="0" y="332"/>
                    </a:lnTo>
                    <a:lnTo>
                      <a:pt x="248" y="332"/>
                    </a:lnTo>
                    <a:lnTo>
                      <a:pt x="248" y="83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" name="Freeform 22"/>
              <p:cNvSpPr>
                <a:spLocks/>
              </p:cNvSpPr>
              <p:nvPr/>
            </p:nvSpPr>
            <p:spPr bwMode="auto">
              <a:xfrm>
                <a:off x="2756" y="1345"/>
                <a:ext cx="248" cy="332"/>
              </a:xfrm>
              <a:custGeom>
                <a:avLst/>
                <a:gdLst>
                  <a:gd name="T0" fmla="*/ 165 w 248"/>
                  <a:gd name="T1" fmla="*/ 0 h 332"/>
                  <a:gd name="T2" fmla="*/ 0 w 248"/>
                  <a:gd name="T3" fmla="*/ 0 h 332"/>
                  <a:gd name="T4" fmla="*/ 0 w 248"/>
                  <a:gd name="T5" fmla="*/ 332 h 332"/>
                  <a:gd name="T6" fmla="*/ 248 w 248"/>
                  <a:gd name="T7" fmla="*/ 332 h 332"/>
                  <a:gd name="T8" fmla="*/ 248 w 248"/>
                  <a:gd name="T9" fmla="*/ 83 h 332"/>
                  <a:gd name="T10" fmla="*/ 165 w 248"/>
                  <a:gd name="T11" fmla="*/ 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8" h="332">
                    <a:moveTo>
                      <a:pt x="165" y="0"/>
                    </a:moveTo>
                    <a:lnTo>
                      <a:pt x="0" y="0"/>
                    </a:lnTo>
                    <a:lnTo>
                      <a:pt x="0" y="332"/>
                    </a:lnTo>
                    <a:lnTo>
                      <a:pt x="248" y="332"/>
                    </a:lnTo>
                    <a:lnTo>
                      <a:pt x="248" y="83"/>
                    </a:lnTo>
                    <a:lnTo>
                      <a:pt x="165" y="0"/>
                    </a:lnTo>
                    <a:close/>
                  </a:path>
                </a:pathLst>
              </a:custGeom>
              <a:noFill/>
              <a:ln w="793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" name="Freeform 23"/>
              <p:cNvSpPr>
                <a:spLocks/>
              </p:cNvSpPr>
              <p:nvPr/>
            </p:nvSpPr>
            <p:spPr bwMode="auto">
              <a:xfrm>
                <a:off x="2921" y="1345"/>
                <a:ext cx="83" cy="83"/>
              </a:xfrm>
              <a:custGeom>
                <a:avLst/>
                <a:gdLst>
                  <a:gd name="T0" fmla="*/ 0 w 83"/>
                  <a:gd name="T1" fmla="*/ 83 h 83"/>
                  <a:gd name="T2" fmla="*/ 83 w 83"/>
                  <a:gd name="T3" fmla="*/ 83 h 83"/>
                  <a:gd name="T4" fmla="*/ 0 w 83"/>
                  <a:gd name="T5" fmla="*/ 0 h 83"/>
                  <a:gd name="T6" fmla="*/ 0 w 83"/>
                  <a:gd name="T7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3" h="83">
                    <a:moveTo>
                      <a:pt x="0" y="83"/>
                    </a:moveTo>
                    <a:lnTo>
                      <a:pt x="83" y="83"/>
                    </a:lnTo>
                    <a:lnTo>
                      <a:pt x="0" y="0"/>
                    </a:ln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8F8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" name="Freeform 24"/>
              <p:cNvSpPr>
                <a:spLocks/>
              </p:cNvSpPr>
              <p:nvPr/>
            </p:nvSpPr>
            <p:spPr bwMode="auto">
              <a:xfrm>
                <a:off x="2921" y="1345"/>
                <a:ext cx="83" cy="83"/>
              </a:xfrm>
              <a:custGeom>
                <a:avLst/>
                <a:gdLst>
                  <a:gd name="T0" fmla="*/ 0 w 83"/>
                  <a:gd name="T1" fmla="*/ 83 h 83"/>
                  <a:gd name="T2" fmla="*/ 83 w 83"/>
                  <a:gd name="T3" fmla="*/ 83 h 83"/>
                  <a:gd name="T4" fmla="*/ 0 w 83"/>
                  <a:gd name="T5" fmla="*/ 0 h 83"/>
                  <a:gd name="T6" fmla="*/ 0 w 83"/>
                  <a:gd name="T7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3" h="83">
                    <a:moveTo>
                      <a:pt x="0" y="83"/>
                    </a:moveTo>
                    <a:lnTo>
                      <a:pt x="83" y="83"/>
                    </a:lnTo>
                    <a:lnTo>
                      <a:pt x="0" y="0"/>
                    </a:lnTo>
                    <a:lnTo>
                      <a:pt x="0" y="83"/>
                    </a:lnTo>
                    <a:close/>
                  </a:path>
                </a:pathLst>
              </a:custGeom>
              <a:noFill/>
              <a:ln w="793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7" name="Rectangle 28"/>
              <p:cNvSpPr>
                <a:spLocks noChangeArrowheads="1"/>
              </p:cNvSpPr>
              <p:nvPr/>
            </p:nvSpPr>
            <p:spPr bwMode="auto">
              <a:xfrm>
                <a:off x="2801" y="1741"/>
                <a:ext cx="0" cy="1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alt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171" name="TextBox 170"/>
            <p:cNvSpPr txBox="1"/>
            <p:nvPr/>
          </p:nvSpPr>
          <p:spPr>
            <a:xfrm>
              <a:off x="5781953" y="4526222"/>
              <a:ext cx="815406" cy="18466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dirty="0" smtClean="0"/>
                <a:t>PDD</a:t>
              </a:r>
              <a:endParaRPr lang="en-US" sz="600" dirty="0"/>
            </a:p>
          </p:txBody>
        </p:sp>
        <p:sp>
          <p:nvSpPr>
            <p:cNvPr id="178" name="TextBox 177"/>
            <p:cNvSpPr txBox="1"/>
            <p:nvPr/>
          </p:nvSpPr>
          <p:spPr>
            <a:xfrm>
              <a:off x="5780673" y="4701674"/>
              <a:ext cx="816686" cy="18466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dirty="0" smtClean="0"/>
                <a:t>FINAL</a:t>
              </a:r>
              <a:endParaRPr lang="en-US" sz="600" dirty="0"/>
            </a:p>
          </p:txBody>
        </p:sp>
      </p:grpSp>
      <p:cxnSp>
        <p:nvCxnSpPr>
          <p:cNvPr id="179" name="Straight Arrow Connector 86"/>
          <p:cNvCxnSpPr>
            <a:endCxn id="173" idx="1"/>
          </p:cNvCxnSpPr>
          <p:nvPr/>
        </p:nvCxnSpPr>
        <p:spPr>
          <a:xfrm>
            <a:off x="7169761" y="3609919"/>
            <a:ext cx="0" cy="418957"/>
          </a:xfrm>
          <a:prstGeom prst="straightConnector1">
            <a:avLst/>
          </a:prstGeom>
          <a:ln w="28575">
            <a:solidFill>
              <a:schemeClr val="bg1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Elbow Connector 148"/>
          <p:cNvCxnSpPr>
            <a:stCxn id="119" idx="1"/>
            <a:endCxn id="107" idx="0"/>
          </p:cNvCxnSpPr>
          <p:nvPr/>
        </p:nvCxnSpPr>
        <p:spPr>
          <a:xfrm rot="10800000" flipV="1">
            <a:off x="4879548" y="2255778"/>
            <a:ext cx="586095" cy="658435"/>
          </a:xfrm>
          <a:prstGeom prst="bentConnector2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7" name="Group 96"/>
          <p:cNvGrpSpPr/>
          <p:nvPr/>
        </p:nvGrpSpPr>
        <p:grpSpPr>
          <a:xfrm>
            <a:off x="2983624" y="755914"/>
            <a:ext cx="1584846" cy="804869"/>
            <a:chOff x="900752" y="725842"/>
            <a:chExt cx="1584846" cy="804869"/>
          </a:xfrm>
        </p:grpSpPr>
        <p:sp>
          <p:nvSpPr>
            <p:cNvPr id="112" name="Rectangle 111"/>
            <p:cNvSpPr/>
            <p:nvPr/>
          </p:nvSpPr>
          <p:spPr>
            <a:xfrm>
              <a:off x="900752" y="832514"/>
              <a:ext cx="1473958" cy="698197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 smtClean="0">
                  <a:solidFill>
                    <a:schemeClr val="accent2"/>
                  </a:solidFill>
                </a:rPr>
                <a:t>ASSIGN PROCESS ANALYST TO THE INITIATIVE</a:t>
              </a:r>
              <a:endParaRPr lang="en-US" sz="1000" b="1" dirty="0">
                <a:solidFill>
                  <a:schemeClr val="accent2"/>
                </a:solidFill>
              </a:endParaRPr>
            </a:p>
          </p:txBody>
        </p:sp>
        <p:sp>
          <p:nvSpPr>
            <p:cNvPr id="113" name="Oval 112"/>
            <p:cNvSpPr/>
            <p:nvPr/>
          </p:nvSpPr>
          <p:spPr>
            <a:xfrm>
              <a:off x="2263822" y="725842"/>
              <a:ext cx="221776" cy="213341"/>
            </a:xfrm>
            <a:prstGeom prst="ellipse">
              <a:avLst/>
            </a:prstGeom>
            <a:solidFill>
              <a:srgbClr val="3F3F3F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cxnSp>
        <p:nvCxnSpPr>
          <p:cNvPr id="121" name="Elbow Connector 120"/>
          <p:cNvCxnSpPr>
            <a:stCxn id="83" idx="3"/>
            <a:endCxn id="112" idx="1"/>
          </p:cNvCxnSpPr>
          <p:nvPr/>
        </p:nvCxnSpPr>
        <p:spPr>
          <a:xfrm flipV="1">
            <a:off x="2784408" y="1211685"/>
            <a:ext cx="199216" cy="1336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TextBox 129"/>
          <p:cNvSpPr txBox="1"/>
          <p:nvPr/>
        </p:nvSpPr>
        <p:spPr>
          <a:xfrm>
            <a:off x="4299019" y="746107"/>
            <a:ext cx="31290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 smtClean="0">
                <a:solidFill>
                  <a:schemeClr val="bg1"/>
                </a:solidFill>
              </a:rPr>
              <a:t>10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31" name="TextBox 130"/>
          <p:cNvSpPr txBox="1"/>
          <p:nvPr/>
        </p:nvSpPr>
        <p:spPr>
          <a:xfrm>
            <a:off x="4299019" y="1800008"/>
            <a:ext cx="31290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 smtClean="0">
                <a:solidFill>
                  <a:schemeClr val="bg1"/>
                </a:solidFill>
              </a:rPr>
              <a:t>11</a:t>
            </a:r>
            <a:endParaRPr lang="en-US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4581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120061" y="641104"/>
            <a:ext cx="8938041" cy="108198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b="1" dirty="0">
              <a:solidFill>
                <a:schemeClr val="accent3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 rot="16200000">
            <a:off x="-200541" y="966662"/>
            <a:ext cx="1073514" cy="42307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2"/>
                </a:solidFill>
              </a:rPr>
              <a:t>PROCESS ANALYST</a:t>
            </a:r>
            <a:endParaRPr lang="en-US" sz="1000" b="1" dirty="0">
              <a:solidFill>
                <a:schemeClr val="accent2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 rot="16200000">
            <a:off x="-695931" y="2533724"/>
            <a:ext cx="2060615" cy="42307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2"/>
                </a:solidFill>
              </a:rPr>
              <a:t>FINANCIAL BOARD</a:t>
            </a:r>
            <a:endParaRPr lang="en-US" sz="1000" b="1" dirty="0">
              <a:solidFill>
                <a:schemeClr val="accent2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22831" y="1724336"/>
            <a:ext cx="8938041" cy="205123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b="1" dirty="0">
              <a:solidFill>
                <a:schemeClr val="accent3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22831" y="3775717"/>
            <a:ext cx="8938041" cy="115978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b="1" dirty="0">
              <a:solidFill>
                <a:schemeClr val="accent3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 rot="16200000">
            <a:off x="-245514" y="4144066"/>
            <a:ext cx="1159780" cy="42307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2"/>
                </a:solidFill>
              </a:rPr>
              <a:t>INPUT / OUTPUT</a:t>
            </a:r>
            <a:endParaRPr lang="en-US" sz="1000" b="1" dirty="0">
              <a:solidFill>
                <a:schemeClr val="accent2"/>
              </a:solidFill>
            </a:endParaRPr>
          </a:p>
        </p:txBody>
      </p:sp>
      <p:sp>
        <p:nvSpPr>
          <p:cNvPr id="122" name="Oval 121"/>
          <p:cNvSpPr/>
          <p:nvPr/>
        </p:nvSpPr>
        <p:spPr>
          <a:xfrm>
            <a:off x="657880" y="1033324"/>
            <a:ext cx="369454" cy="361931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</a:t>
            </a:r>
          </a:p>
        </p:txBody>
      </p:sp>
      <p:cxnSp>
        <p:nvCxnSpPr>
          <p:cNvPr id="25" name="Elbow Connector 24"/>
          <p:cNvCxnSpPr>
            <a:stCxn id="122" idx="6"/>
            <a:endCxn id="83" idx="1"/>
          </p:cNvCxnSpPr>
          <p:nvPr/>
        </p:nvCxnSpPr>
        <p:spPr>
          <a:xfrm flipV="1">
            <a:off x="1027334" y="1213021"/>
            <a:ext cx="283116" cy="1269"/>
          </a:xfrm>
          <a:prstGeom prst="bentConnector3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Elbow Connector 108"/>
          <p:cNvCxnSpPr>
            <a:stCxn id="88" idx="3"/>
            <a:endCxn id="111" idx="1"/>
          </p:cNvCxnSpPr>
          <p:nvPr/>
        </p:nvCxnSpPr>
        <p:spPr>
          <a:xfrm flipV="1">
            <a:off x="2790535" y="1214493"/>
            <a:ext cx="338186" cy="1280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Elbow Connector 148"/>
          <p:cNvCxnSpPr>
            <a:stCxn id="111" idx="2"/>
            <a:endCxn id="107" idx="1"/>
          </p:cNvCxnSpPr>
          <p:nvPr/>
        </p:nvCxnSpPr>
        <p:spPr>
          <a:xfrm rot="16200000" flipH="1">
            <a:off x="3657575" y="1771716"/>
            <a:ext cx="693118" cy="276868"/>
          </a:xfrm>
          <a:prstGeom prst="bentConnector2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Google Shape;59;p14"/>
          <p:cNvSpPr txBox="1">
            <a:spLocks/>
          </p:cNvSpPr>
          <p:nvPr/>
        </p:nvSpPr>
        <p:spPr>
          <a:xfrm>
            <a:off x="39560" y="19922"/>
            <a:ext cx="2938997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500" b="1" dirty="0" smtClean="0">
                <a:solidFill>
                  <a:schemeClr val="bg1"/>
                </a:solidFill>
              </a:rPr>
              <a:t>FINALIZE BUSINESS CASE</a:t>
            </a:r>
            <a:endParaRPr lang="en-US" sz="1500" b="1" dirty="0">
              <a:solidFill>
                <a:schemeClr val="bg1"/>
              </a:solidFill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5320145" y="122842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/>
              <a:t>SOLUTIONING</a:t>
            </a:r>
            <a:endParaRPr lang="en-US" sz="900" b="1" dirty="0"/>
          </a:p>
        </p:txBody>
      </p:sp>
      <p:sp>
        <p:nvSpPr>
          <p:cNvPr id="63" name="Rectangle 62"/>
          <p:cNvSpPr/>
          <p:nvPr/>
        </p:nvSpPr>
        <p:spPr>
          <a:xfrm>
            <a:off x="6567054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/>
              <a:t>IMPLEMENTATION</a:t>
            </a:r>
            <a:endParaRPr lang="en-US" sz="900" b="1" dirty="0"/>
          </a:p>
        </p:txBody>
      </p:sp>
      <p:sp>
        <p:nvSpPr>
          <p:cNvPr id="64" name="Rectangle 63"/>
          <p:cNvSpPr/>
          <p:nvPr/>
        </p:nvSpPr>
        <p:spPr>
          <a:xfrm>
            <a:off x="7813963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/>
              <a:t>OPERATIONS</a:t>
            </a:r>
            <a:endParaRPr lang="en-US" sz="900" b="1" dirty="0"/>
          </a:p>
        </p:txBody>
      </p:sp>
      <p:grpSp>
        <p:nvGrpSpPr>
          <p:cNvPr id="66" name="Group 65"/>
          <p:cNvGrpSpPr/>
          <p:nvPr/>
        </p:nvGrpSpPr>
        <p:grpSpPr>
          <a:xfrm>
            <a:off x="2240909" y="4017456"/>
            <a:ext cx="815406" cy="917575"/>
            <a:chOff x="1323975" y="4225925"/>
            <a:chExt cx="815406" cy="917575"/>
          </a:xfrm>
        </p:grpSpPr>
        <p:grpSp>
          <p:nvGrpSpPr>
            <p:cNvPr id="67" name="Group 20"/>
            <p:cNvGrpSpPr>
              <a:grpSpLocks noChangeAspect="1"/>
            </p:cNvGrpSpPr>
            <p:nvPr/>
          </p:nvGrpSpPr>
          <p:grpSpPr bwMode="auto">
            <a:xfrm>
              <a:off x="1326581" y="4225925"/>
              <a:ext cx="812800" cy="917575"/>
              <a:chOff x="2624" y="1337"/>
              <a:chExt cx="512" cy="578"/>
            </a:xfrm>
          </p:grpSpPr>
          <p:sp>
            <p:nvSpPr>
              <p:cNvPr id="69" name="AutoShape 19"/>
              <p:cNvSpPr>
                <a:spLocks noChangeAspect="1" noChangeArrowheads="1" noTextEdit="1"/>
              </p:cNvSpPr>
              <p:nvPr/>
            </p:nvSpPr>
            <p:spPr bwMode="auto">
              <a:xfrm>
                <a:off x="2624" y="1337"/>
                <a:ext cx="512" cy="5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1"/>
              <p:cNvSpPr>
                <a:spLocks/>
              </p:cNvSpPr>
              <p:nvPr/>
            </p:nvSpPr>
            <p:spPr bwMode="auto">
              <a:xfrm>
                <a:off x="2756" y="1345"/>
                <a:ext cx="248" cy="332"/>
              </a:xfrm>
              <a:custGeom>
                <a:avLst/>
                <a:gdLst>
                  <a:gd name="T0" fmla="*/ 165 w 248"/>
                  <a:gd name="T1" fmla="*/ 0 h 332"/>
                  <a:gd name="T2" fmla="*/ 0 w 248"/>
                  <a:gd name="T3" fmla="*/ 0 h 332"/>
                  <a:gd name="T4" fmla="*/ 0 w 248"/>
                  <a:gd name="T5" fmla="*/ 332 h 332"/>
                  <a:gd name="T6" fmla="*/ 248 w 248"/>
                  <a:gd name="T7" fmla="*/ 332 h 332"/>
                  <a:gd name="T8" fmla="*/ 248 w 248"/>
                  <a:gd name="T9" fmla="*/ 83 h 332"/>
                  <a:gd name="T10" fmla="*/ 165 w 248"/>
                  <a:gd name="T11" fmla="*/ 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8" h="332">
                    <a:moveTo>
                      <a:pt x="165" y="0"/>
                    </a:moveTo>
                    <a:lnTo>
                      <a:pt x="0" y="0"/>
                    </a:lnTo>
                    <a:lnTo>
                      <a:pt x="0" y="332"/>
                    </a:lnTo>
                    <a:lnTo>
                      <a:pt x="248" y="332"/>
                    </a:lnTo>
                    <a:lnTo>
                      <a:pt x="248" y="83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2"/>
              <p:cNvSpPr>
                <a:spLocks/>
              </p:cNvSpPr>
              <p:nvPr/>
            </p:nvSpPr>
            <p:spPr bwMode="auto">
              <a:xfrm>
                <a:off x="2756" y="1345"/>
                <a:ext cx="248" cy="332"/>
              </a:xfrm>
              <a:custGeom>
                <a:avLst/>
                <a:gdLst>
                  <a:gd name="T0" fmla="*/ 165 w 248"/>
                  <a:gd name="T1" fmla="*/ 0 h 332"/>
                  <a:gd name="T2" fmla="*/ 0 w 248"/>
                  <a:gd name="T3" fmla="*/ 0 h 332"/>
                  <a:gd name="T4" fmla="*/ 0 w 248"/>
                  <a:gd name="T5" fmla="*/ 332 h 332"/>
                  <a:gd name="T6" fmla="*/ 248 w 248"/>
                  <a:gd name="T7" fmla="*/ 332 h 332"/>
                  <a:gd name="T8" fmla="*/ 248 w 248"/>
                  <a:gd name="T9" fmla="*/ 83 h 332"/>
                  <a:gd name="T10" fmla="*/ 165 w 248"/>
                  <a:gd name="T11" fmla="*/ 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8" h="332">
                    <a:moveTo>
                      <a:pt x="165" y="0"/>
                    </a:moveTo>
                    <a:lnTo>
                      <a:pt x="0" y="0"/>
                    </a:lnTo>
                    <a:lnTo>
                      <a:pt x="0" y="332"/>
                    </a:lnTo>
                    <a:lnTo>
                      <a:pt x="248" y="332"/>
                    </a:lnTo>
                    <a:lnTo>
                      <a:pt x="248" y="83"/>
                    </a:lnTo>
                    <a:lnTo>
                      <a:pt x="165" y="0"/>
                    </a:lnTo>
                    <a:close/>
                  </a:path>
                </a:pathLst>
              </a:custGeom>
              <a:noFill/>
              <a:ln w="793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"/>
              <p:cNvSpPr>
                <a:spLocks/>
              </p:cNvSpPr>
              <p:nvPr/>
            </p:nvSpPr>
            <p:spPr bwMode="auto">
              <a:xfrm>
                <a:off x="2921" y="1345"/>
                <a:ext cx="83" cy="83"/>
              </a:xfrm>
              <a:custGeom>
                <a:avLst/>
                <a:gdLst>
                  <a:gd name="T0" fmla="*/ 0 w 83"/>
                  <a:gd name="T1" fmla="*/ 83 h 83"/>
                  <a:gd name="T2" fmla="*/ 83 w 83"/>
                  <a:gd name="T3" fmla="*/ 83 h 83"/>
                  <a:gd name="T4" fmla="*/ 0 w 83"/>
                  <a:gd name="T5" fmla="*/ 0 h 83"/>
                  <a:gd name="T6" fmla="*/ 0 w 83"/>
                  <a:gd name="T7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3" h="83">
                    <a:moveTo>
                      <a:pt x="0" y="83"/>
                    </a:moveTo>
                    <a:lnTo>
                      <a:pt x="83" y="83"/>
                    </a:lnTo>
                    <a:lnTo>
                      <a:pt x="0" y="0"/>
                    </a:ln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8F8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4"/>
              <p:cNvSpPr>
                <a:spLocks/>
              </p:cNvSpPr>
              <p:nvPr/>
            </p:nvSpPr>
            <p:spPr bwMode="auto">
              <a:xfrm>
                <a:off x="2921" y="1345"/>
                <a:ext cx="83" cy="83"/>
              </a:xfrm>
              <a:custGeom>
                <a:avLst/>
                <a:gdLst>
                  <a:gd name="T0" fmla="*/ 0 w 83"/>
                  <a:gd name="T1" fmla="*/ 83 h 83"/>
                  <a:gd name="T2" fmla="*/ 83 w 83"/>
                  <a:gd name="T3" fmla="*/ 83 h 83"/>
                  <a:gd name="T4" fmla="*/ 0 w 83"/>
                  <a:gd name="T5" fmla="*/ 0 h 83"/>
                  <a:gd name="T6" fmla="*/ 0 w 83"/>
                  <a:gd name="T7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3" h="83">
                    <a:moveTo>
                      <a:pt x="0" y="83"/>
                    </a:moveTo>
                    <a:lnTo>
                      <a:pt x="83" y="83"/>
                    </a:lnTo>
                    <a:lnTo>
                      <a:pt x="0" y="0"/>
                    </a:lnTo>
                    <a:lnTo>
                      <a:pt x="0" y="83"/>
                    </a:lnTo>
                    <a:close/>
                  </a:path>
                </a:pathLst>
              </a:custGeom>
              <a:noFill/>
              <a:ln w="793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"/>
              <p:cNvSpPr>
                <a:spLocks noChangeArrowheads="1"/>
              </p:cNvSpPr>
              <p:nvPr/>
            </p:nvSpPr>
            <p:spPr bwMode="auto">
              <a:xfrm>
                <a:off x="2801" y="1741"/>
                <a:ext cx="0" cy="1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alt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68" name="TextBox 67"/>
            <p:cNvSpPr txBox="1"/>
            <p:nvPr/>
          </p:nvSpPr>
          <p:spPr>
            <a:xfrm>
              <a:off x="1323975" y="4735971"/>
              <a:ext cx="815406" cy="27699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dirty="0" smtClean="0"/>
                <a:t>COMPLEXITY CALCULATOR</a:t>
              </a:r>
              <a:endParaRPr lang="en-US" sz="600" dirty="0"/>
            </a:p>
          </p:txBody>
        </p:sp>
      </p:grpSp>
      <p:cxnSp>
        <p:nvCxnSpPr>
          <p:cNvPr id="75" name="Straight Arrow Connector 86"/>
          <p:cNvCxnSpPr/>
          <p:nvPr/>
        </p:nvCxnSpPr>
        <p:spPr>
          <a:xfrm>
            <a:off x="2566464" y="1562118"/>
            <a:ext cx="0" cy="2468038"/>
          </a:xfrm>
          <a:prstGeom prst="straightConnector1">
            <a:avLst/>
          </a:prstGeom>
          <a:ln w="28575">
            <a:solidFill>
              <a:schemeClr val="bg1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Arrow Connector 86"/>
          <p:cNvCxnSpPr>
            <a:stCxn id="153" idx="4"/>
          </p:cNvCxnSpPr>
          <p:nvPr/>
        </p:nvCxnSpPr>
        <p:spPr>
          <a:xfrm flipV="1">
            <a:off x="1195287" y="1576207"/>
            <a:ext cx="313772" cy="2492224"/>
          </a:xfrm>
          <a:prstGeom prst="bentConnector2">
            <a:avLst/>
          </a:prstGeom>
          <a:ln w="28575">
            <a:solidFill>
              <a:schemeClr val="bg1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Group 37"/>
          <p:cNvGrpSpPr/>
          <p:nvPr/>
        </p:nvGrpSpPr>
        <p:grpSpPr>
          <a:xfrm>
            <a:off x="589431" y="3923968"/>
            <a:ext cx="815406" cy="917575"/>
            <a:chOff x="6160331" y="4016176"/>
            <a:chExt cx="815406" cy="917575"/>
          </a:xfrm>
        </p:grpSpPr>
        <p:grpSp>
          <p:nvGrpSpPr>
            <p:cNvPr id="148" name="Group 20"/>
            <p:cNvGrpSpPr>
              <a:grpSpLocks noChangeAspect="1"/>
            </p:cNvGrpSpPr>
            <p:nvPr/>
          </p:nvGrpSpPr>
          <p:grpSpPr bwMode="auto">
            <a:xfrm>
              <a:off x="6162937" y="4016176"/>
              <a:ext cx="812800" cy="917575"/>
              <a:chOff x="2624" y="1337"/>
              <a:chExt cx="512" cy="578"/>
            </a:xfrm>
          </p:grpSpPr>
          <p:sp>
            <p:nvSpPr>
              <p:cNvPr id="152" name="AutoShape 19"/>
              <p:cNvSpPr>
                <a:spLocks noChangeAspect="1" noChangeArrowheads="1" noTextEdit="1"/>
              </p:cNvSpPr>
              <p:nvPr/>
            </p:nvSpPr>
            <p:spPr bwMode="auto">
              <a:xfrm>
                <a:off x="2624" y="1337"/>
                <a:ext cx="512" cy="5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" name="Freeform 21"/>
              <p:cNvSpPr>
                <a:spLocks/>
              </p:cNvSpPr>
              <p:nvPr/>
            </p:nvSpPr>
            <p:spPr bwMode="auto">
              <a:xfrm>
                <a:off x="2756" y="1345"/>
                <a:ext cx="248" cy="332"/>
              </a:xfrm>
              <a:custGeom>
                <a:avLst/>
                <a:gdLst>
                  <a:gd name="T0" fmla="*/ 165 w 248"/>
                  <a:gd name="T1" fmla="*/ 0 h 332"/>
                  <a:gd name="T2" fmla="*/ 0 w 248"/>
                  <a:gd name="T3" fmla="*/ 0 h 332"/>
                  <a:gd name="T4" fmla="*/ 0 w 248"/>
                  <a:gd name="T5" fmla="*/ 332 h 332"/>
                  <a:gd name="T6" fmla="*/ 248 w 248"/>
                  <a:gd name="T7" fmla="*/ 332 h 332"/>
                  <a:gd name="T8" fmla="*/ 248 w 248"/>
                  <a:gd name="T9" fmla="*/ 83 h 332"/>
                  <a:gd name="T10" fmla="*/ 165 w 248"/>
                  <a:gd name="T11" fmla="*/ 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8" h="332">
                    <a:moveTo>
                      <a:pt x="165" y="0"/>
                    </a:moveTo>
                    <a:lnTo>
                      <a:pt x="0" y="0"/>
                    </a:lnTo>
                    <a:lnTo>
                      <a:pt x="0" y="332"/>
                    </a:lnTo>
                    <a:lnTo>
                      <a:pt x="248" y="332"/>
                    </a:lnTo>
                    <a:lnTo>
                      <a:pt x="248" y="83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" name="Freeform 22"/>
              <p:cNvSpPr>
                <a:spLocks/>
              </p:cNvSpPr>
              <p:nvPr/>
            </p:nvSpPr>
            <p:spPr bwMode="auto">
              <a:xfrm>
                <a:off x="2756" y="1345"/>
                <a:ext cx="248" cy="332"/>
              </a:xfrm>
              <a:custGeom>
                <a:avLst/>
                <a:gdLst>
                  <a:gd name="T0" fmla="*/ 165 w 248"/>
                  <a:gd name="T1" fmla="*/ 0 h 332"/>
                  <a:gd name="T2" fmla="*/ 0 w 248"/>
                  <a:gd name="T3" fmla="*/ 0 h 332"/>
                  <a:gd name="T4" fmla="*/ 0 w 248"/>
                  <a:gd name="T5" fmla="*/ 332 h 332"/>
                  <a:gd name="T6" fmla="*/ 248 w 248"/>
                  <a:gd name="T7" fmla="*/ 332 h 332"/>
                  <a:gd name="T8" fmla="*/ 248 w 248"/>
                  <a:gd name="T9" fmla="*/ 83 h 332"/>
                  <a:gd name="T10" fmla="*/ 165 w 248"/>
                  <a:gd name="T11" fmla="*/ 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8" h="332">
                    <a:moveTo>
                      <a:pt x="165" y="0"/>
                    </a:moveTo>
                    <a:lnTo>
                      <a:pt x="0" y="0"/>
                    </a:lnTo>
                    <a:lnTo>
                      <a:pt x="0" y="332"/>
                    </a:lnTo>
                    <a:lnTo>
                      <a:pt x="248" y="332"/>
                    </a:lnTo>
                    <a:lnTo>
                      <a:pt x="248" y="83"/>
                    </a:lnTo>
                    <a:lnTo>
                      <a:pt x="165" y="0"/>
                    </a:lnTo>
                    <a:close/>
                  </a:path>
                </a:pathLst>
              </a:custGeom>
              <a:noFill/>
              <a:ln w="793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" name="Freeform 23"/>
              <p:cNvSpPr>
                <a:spLocks/>
              </p:cNvSpPr>
              <p:nvPr/>
            </p:nvSpPr>
            <p:spPr bwMode="auto">
              <a:xfrm>
                <a:off x="2921" y="1345"/>
                <a:ext cx="83" cy="83"/>
              </a:xfrm>
              <a:custGeom>
                <a:avLst/>
                <a:gdLst>
                  <a:gd name="T0" fmla="*/ 0 w 83"/>
                  <a:gd name="T1" fmla="*/ 83 h 83"/>
                  <a:gd name="T2" fmla="*/ 83 w 83"/>
                  <a:gd name="T3" fmla="*/ 83 h 83"/>
                  <a:gd name="T4" fmla="*/ 0 w 83"/>
                  <a:gd name="T5" fmla="*/ 0 h 83"/>
                  <a:gd name="T6" fmla="*/ 0 w 83"/>
                  <a:gd name="T7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3" h="83">
                    <a:moveTo>
                      <a:pt x="0" y="83"/>
                    </a:moveTo>
                    <a:lnTo>
                      <a:pt x="83" y="83"/>
                    </a:lnTo>
                    <a:lnTo>
                      <a:pt x="0" y="0"/>
                    </a:ln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8F8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" name="Freeform 24"/>
              <p:cNvSpPr>
                <a:spLocks/>
              </p:cNvSpPr>
              <p:nvPr/>
            </p:nvSpPr>
            <p:spPr bwMode="auto">
              <a:xfrm>
                <a:off x="2921" y="1345"/>
                <a:ext cx="83" cy="83"/>
              </a:xfrm>
              <a:custGeom>
                <a:avLst/>
                <a:gdLst>
                  <a:gd name="T0" fmla="*/ 0 w 83"/>
                  <a:gd name="T1" fmla="*/ 83 h 83"/>
                  <a:gd name="T2" fmla="*/ 83 w 83"/>
                  <a:gd name="T3" fmla="*/ 83 h 83"/>
                  <a:gd name="T4" fmla="*/ 0 w 83"/>
                  <a:gd name="T5" fmla="*/ 0 h 83"/>
                  <a:gd name="T6" fmla="*/ 0 w 83"/>
                  <a:gd name="T7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3" h="83">
                    <a:moveTo>
                      <a:pt x="0" y="83"/>
                    </a:moveTo>
                    <a:lnTo>
                      <a:pt x="83" y="83"/>
                    </a:lnTo>
                    <a:lnTo>
                      <a:pt x="0" y="0"/>
                    </a:lnTo>
                    <a:lnTo>
                      <a:pt x="0" y="83"/>
                    </a:lnTo>
                    <a:close/>
                  </a:path>
                </a:pathLst>
              </a:custGeom>
              <a:noFill/>
              <a:ln w="793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" name="Rectangle 28"/>
              <p:cNvSpPr>
                <a:spLocks noChangeArrowheads="1"/>
              </p:cNvSpPr>
              <p:nvPr/>
            </p:nvSpPr>
            <p:spPr bwMode="auto">
              <a:xfrm>
                <a:off x="2801" y="1741"/>
                <a:ext cx="0" cy="1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alt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151" name="TextBox 150"/>
            <p:cNvSpPr txBox="1"/>
            <p:nvPr/>
          </p:nvSpPr>
          <p:spPr>
            <a:xfrm>
              <a:off x="6160331" y="4526222"/>
              <a:ext cx="815406" cy="18466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dirty="0" smtClean="0"/>
                <a:t>PDD</a:t>
              </a:r>
              <a:endParaRPr lang="en-US" sz="600" dirty="0"/>
            </a:p>
          </p:txBody>
        </p:sp>
        <p:sp>
          <p:nvSpPr>
            <p:cNvPr id="161" name="TextBox 160"/>
            <p:cNvSpPr txBox="1"/>
            <p:nvPr/>
          </p:nvSpPr>
          <p:spPr>
            <a:xfrm>
              <a:off x="6160331" y="4711013"/>
              <a:ext cx="815406" cy="18466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dirty="0" smtClean="0"/>
                <a:t>FINAL</a:t>
              </a:r>
              <a:endParaRPr lang="en-US" sz="600" dirty="0"/>
            </a:p>
          </p:txBody>
        </p:sp>
      </p:grpSp>
      <p:sp>
        <p:nvSpPr>
          <p:cNvPr id="76" name="Rectangle 75"/>
          <p:cNvSpPr/>
          <p:nvPr/>
        </p:nvSpPr>
        <p:spPr>
          <a:xfrm>
            <a:off x="2826327" y="122842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/>
              <a:t>IDEATION</a:t>
            </a:r>
            <a:endParaRPr lang="en-US" sz="900" b="1" dirty="0"/>
          </a:p>
        </p:txBody>
      </p:sp>
      <p:sp>
        <p:nvSpPr>
          <p:cNvPr id="77" name="Rectangle 76"/>
          <p:cNvSpPr/>
          <p:nvPr/>
        </p:nvSpPr>
        <p:spPr>
          <a:xfrm>
            <a:off x="4073236" y="124687"/>
            <a:ext cx="1246909" cy="259773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/>
              <a:t>DISCOVERY</a:t>
            </a:r>
            <a:endParaRPr lang="en-US" sz="900" b="1" dirty="0"/>
          </a:p>
        </p:txBody>
      </p:sp>
      <p:grpSp>
        <p:nvGrpSpPr>
          <p:cNvPr id="106" name="Group 105"/>
          <p:cNvGrpSpPr/>
          <p:nvPr/>
        </p:nvGrpSpPr>
        <p:grpSpPr>
          <a:xfrm>
            <a:off x="4142568" y="1792024"/>
            <a:ext cx="1624375" cy="813783"/>
            <a:chOff x="2826327" y="1813695"/>
            <a:chExt cx="1624375" cy="813783"/>
          </a:xfrm>
        </p:grpSpPr>
        <p:sp>
          <p:nvSpPr>
            <p:cNvPr id="107" name="Rectangle 106"/>
            <p:cNvSpPr/>
            <p:nvPr/>
          </p:nvSpPr>
          <p:spPr>
            <a:xfrm>
              <a:off x="2826327" y="1929281"/>
              <a:ext cx="1473958" cy="698197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 smtClean="0">
                  <a:solidFill>
                    <a:schemeClr val="accent2"/>
                  </a:solidFill>
                </a:rPr>
                <a:t>REVIEW BUSINESS CASE</a:t>
              </a:r>
              <a:endParaRPr lang="en-US" sz="1000" b="1" dirty="0">
                <a:solidFill>
                  <a:schemeClr val="accent2"/>
                </a:solidFill>
              </a:endParaRPr>
            </a:p>
          </p:txBody>
        </p:sp>
        <p:sp>
          <p:nvSpPr>
            <p:cNvPr id="116" name="Oval 115"/>
            <p:cNvSpPr/>
            <p:nvPr/>
          </p:nvSpPr>
          <p:spPr>
            <a:xfrm>
              <a:off x="4189397" y="1822609"/>
              <a:ext cx="221776" cy="213341"/>
            </a:xfrm>
            <a:prstGeom prst="ellipse">
              <a:avLst/>
            </a:prstGeom>
            <a:solidFill>
              <a:srgbClr val="3F3F3F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117" name="TextBox 116"/>
            <p:cNvSpPr txBox="1"/>
            <p:nvPr/>
          </p:nvSpPr>
          <p:spPr>
            <a:xfrm>
              <a:off x="4137796" y="1813695"/>
              <a:ext cx="312906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dirty="0" smtClean="0">
                  <a:solidFill>
                    <a:schemeClr val="bg1"/>
                  </a:solidFill>
                </a:rPr>
                <a:t>15</a:t>
              </a:r>
              <a:endParaRPr lang="en-US" sz="900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143" name="Straight Arrow Connector 96"/>
          <p:cNvCxnSpPr>
            <a:endCxn id="72" idx="1"/>
          </p:cNvCxnSpPr>
          <p:nvPr/>
        </p:nvCxnSpPr>
        <p:spPr>
          <a:xfrm rot="5400000">
            <a:off x="1791697" y="2631275"/>
            <a:ext cx="2585713" cy="475574"/>
          </a:xfrm>
          <a:prstGeom prst="bentConnector2">
            <a:avLst/>
          </a:prstGeom>
          <a:ln w="28575">
            <a:solidFill>
              <a:schemeClr val="bg1"/>
            </a:solidFill>
            <a:prstDash val="sysDash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7" name="Group 86"/>
          <p:cNvGrpSpPr/>
          <p:nvPr/>
        </p:nvGrpSpPr>
        <p:grpSpPr>
          <a:xfrm>
            <a:off x="1316577" y="751088"/>
            <a:ext cx="1624375" cy="813783"/>
            <a:chOff x="2826327" y="1813695"/>
            <a:chExt cx="1624375" cy="813783"/>
          </a:xfrm>
        </p:grpSpPr>
        <p:sp>
          <p:nvSpPr>
            <p:cNvPr id="88" name="Rectangle 87"/>
            <p:cNvSpPr/>
            <p:nvPr/>
          </p:nvSpPr>
          <p:spPr>
            <a:xfrm>
              <a:off x="2826327" y="1929281"/>
              <a:ext cx="1473958" cy="698197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 smtClean="0">
                  <a:solidFill>
                    <a:schemeClr val="accent2"/>
                  </a:solidFill>
                </a:rPr>
                <a:t>UPDATE PROCESS COMPLEXITY &amp; ROI BASED ON PDD</a:t>
              </a:r>
              <a:endParaRPr lang="en-US" sz="1000" b="1" dirty="0">
                <a:solidFill>
                  <a:schemeClr val="accent2"/>
                </a:solidFill>
              </a:endParaRPr>
            </a:p>
          </p:txBody>
        </p:sp>
        <p:sp>
          <p:nvSpPr>
            <p:cNvPr id="89" name="Oval 88"/>
            <p:cNvSpPr/>
            <p:nvPr/>
          </p:nvSpPr>
          <p:spPr>
            <a:xfrm>
              <a:off x="4189397" y="1822609"/>
              <a:ext cx="221776" cy="213341"/>
            </a:xfrm>
            <a:prstGeom prst="ellipse">
              <a:avLst/>
            </a:prstGeom>
            <a:solidFill>
              <a:srgbClr val="3F3F3F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4137796" y="1813695"/>
              <a:ext cx="312906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dirty="0" smtClean="0">
                  <a:solidFill>
                    <a:schemeClr val="bg1"/>
                  </a:solidFill>
                </a:rPr>
                <a:t>13</a:t>
              </a:r>
              <a:endParaRPr lang="en-US" sz="9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7" name="Group 96"/>
          <p:cNvGrpSpPr/>
          <p:nvPr/>
        </p:nvGrpSpPr>
        <p:grpSpPr>
          <a:xfrm>
            <a:off x="3128721" y="749808"/>
            <a:ext cx="1624375" cy="813783"/>
            <a:chOff x="2826327" y="1813695"/>
            <a:chExt cx="1624375" cy="813783"/>
          </a:xfrm>
        </p:grpSpPr>
        <p:sp>
          <p:nvSpPr>
            <p:cNvPr id="111" name="Rectangle 110"/>
            <p:cNvSpPr/>
            <p:nvPr/>
          </p:nvSpPr>
          <p:spPr>
            <a:xfrm>
              <a:off x="2826327" y="1929281"/>
              <a:ext cx="1473958" cy="698197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 smtClean="0">
                  <a:solidFill>
                    <a:schemeClr val="accent2"/>
                  </a:solidFill>
                </a:rPr>
                <a:t>MODIFY BUSINESS CASE</a:t>
              </a:r>
              <a:endParaRPr lang="en-US" sz="1000" b="1" dirty="0">
                <a:solidFill>
                  <a:schemeClr val="accent2"/>
                </a:solidFill>
              </a:endParaRPr>
            </a:p>
          </p:txBody>
        </p:sp>
        <p:sp>
          <p:nvSpPr>
            <p:cNvPr id="112" name="Oval 111"/>
            <p:cNvSpPr/>
            <p:nvPr/>
          </p:nvSpPr>
          <p:spPr>
            <a:xfrm>
              <a:off x="4189397" y="1822609"/>
              <a:ext cx="221776" cy="213341"/>
            </a:xfrm>
            <a:prstGeom prst="ellipse">
              <a:avLst/>
            </a:prstGeom>
            <a:solidFill>
              <a:srgbClr val="3F3F3F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113" name="TextBox 112"/>
            <p:cNvSpPr txBox="1"/>
            <p:nvPr/>
          </p:nvSpPr>
          <p:spPr>
            <a:xfrm>
              <a:off x="4137796" y="1813695"/>
              <a:ext cx="312906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dirty="0" smtClean="0">
                  <a:solidFill>
                    <a:schemeClr val="bg1"/>
                  </a:solidFill>
                </a:rPr>
                <a:t>14</a:t>
              </a:r>
              <a:endParaRPr lang="en-US" sz="900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121" name="Straight Arrow Connector 86"/>
          <p:cNvCxnSpPr/>
          <p:nvPr/>
        </p:nvCxnSpPr>
        <p:spPr>
          <a:xfrm flipH="1" flipV="1">
            <a:off x="2472008" y="1562118"/>
            <a:ext cx="2252" cy="2468038"/>
          </a:xfrm>
          <a:prstGeom prst="straightConnector1">
            <a:avLst/>
          </a:prstGeom>
          <a:ln w="28575">
            <a:solidFill>
              <a:schemeClr val="bg1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Oval 132"/>
          <p:cNvSpPr/>
          <p:nvPr/>
        </p:nvSpPr>
        <p:spPr>
          <a:xfrm>
            <a:off x="6229105" y="3112914"/>
            <a:ext cx="369454" cy="361931"/>
          </a:xfrm>
          <a:prstGeom prst="ellipse">
            <a:avLst/>
          </a:prstGeom>
          <a:noFill/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34" name="Group 133"/>
          <p:cNvGrpSpPr/>
          <p:nvPr/>
        </p:nvGrpSpPr>
        <p:grpSpPr>
          <a:xfrm>
            <a:off x="6227488" y="2068518"/>
            <a:ext cx="371071" cy="374662"/>
            <a:chOff x="2978557" y="990529"/>
            <a:chExt cx="371071" cy="374662"/>
          </a:xfrm>
        </p:grpSpPr>
        <p:sp>
          <p:nvSpPr>
            <p:cNvPr id="135" name="Flowchart: Decision 134"/>
            <p:cNvSpPr/>
            <p:nvPr/>
          </p:nvSpPr>
          <p:spPr>
            <a:xfrm>
              <a:off x="2978557" y="990529"/>
              <a:ext cx="371071" cy="374662"/>
            </a:xfrm>
            <a:prstGeom prst="flowChartDecision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/>
            </a:p>
          </p:txBody>
        </p:sp>
        <p:cxnSp>
          <p:nvCxnSpPr>
            <p:cNvPr id="136" name="Straight Connector 135"/>
            <p:cNvCxnSpPr/>
            <p:nvPr/>
          </p:nvCxnSpPr>
          <p:spPr>
            <a:xfrm>
              <a:off x="3065463" y="1076973"/>
              <a:ext cx="195262" cy="198344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/>
            <p:cNvCxnSpPr/>
            <p:nvPr/>
          </p:nvCxnSpPr>
          <p:spPr>
            <a:xfrm flipH="1">
              <a:off x="3071813" y="1081937"/>
              <a:ext cx="180184" cy="187628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38" name="Elbow Connector 148"/>
          <p:cNvCxnSpPr>
            <a:stCxn id="135" idx="3"/>
            <a:endCxn id="193" idx="1"/>
          </p:cNvCxnSpPr>
          <p:nvPr/>
        </p:nvCxnSpPr>
        <p:spPr>
          <a:xfrm flipV="1">
            <a:off x="6598559" y="2255429"/>
            <a:ext cx="531805" cy="420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TextBox 138"/>
          <p:cNvSpPr txBox="1"/>
          <p:nvPr/>
        </p:nvSpPr>
        <p:spPr>
          <a:xfrm>
            <a:off x="6025201" y="1799222"/>
            <a:ext cx="107114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bg1"/>
                </a:solidFill>
              </a:rPr>
              <a:t>Acceptable?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40" name="TextBox 139"/>
          <p:cNvSpPr txBox="1"/>
          <p:nvPr/>
        </p:nvSpPr>
        <p:spPr>
          <a:xfrm>
            <a:off x="6367241" y="2708540"/>
            <a:ext cx="380232" cy="276999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bg1"/>
                </a:solidFill>
              </a:rPr>
              <a:t>No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46" name="TextBox 145"/>
          <p:cNvSpPr txBox="1"/>
          <p:nvPr/>
        </p:nvSpPr>
        <p:spPr>
          <a:xfrm>
            <a:off x="6604072" y="2281540"/>
            <a:ext cx="449162" cy="276999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bg1"/>
                </a:solidFill>
              </a:rPr>
              <a:t>Yes</a:t>
            </a:r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163" name="Elbow Connector 100"/>
          <p:cNvCxnSpPr>
            <a:stCxn id="135" idx="2"/>
            <a:endCxn id="133" idx="0"/>
          </p:cNvCxnSpPr>
          <p:nvPr/>
        </p:nvCxnSpPr>
        <p:spPr>
          <a:xfrm>
            <a:off x="6413024" y="2443180"/>
            <a:ext cx="808" cy="669734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Elbow Connector 148"/>
          <p:cNvCxnSpPr>
            <a:stCxn id="107" idx="3"/>
            <a:endCxn id="135" idx="1"/>
          </p:cNvCxnSpPr>
          <p:nvPr/>
        </p:nvCxnSpPr>
        <p:spPr>
          <a:xfrm flipV="1">
            <a:off x="5616526" y="2255849"/>
            <a:ext cx="610962" cy="860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Oval 168"/>
          <p:cNvSpPr/>
          <p:nvPr/>
        </p:nvSpPr>
        <p:spPr>
          <a:xfrm>
            <a:off x="7683564" y="3112913"/>
            <a:ext cx="369454" cy="361931"/>
          </a:xfrm>
          <a:prstGeom prst="ellipse">
            <a:avLst/>
          </a:prstGeom>
          <a:noFill/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0" name="TextBox 169"/>
          <p:cNvSpPr txBox="1"/>
          <p:nvPr/>
        </p:nvSpPr>
        <p:spPr>
          <a:xfrm>
            <a:off x="7613046" y="3205904"/>
            <a:ext cx="1424892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bg1"/>
                </a:solidFill>
              </a:rPr>
              <a:t>Transition to </a:t>
            </a:r>
            <a:r>
              <a:rPr lang="en-US" sz="1200" dirty="0" err="1" smtClean="0">
                <a:solidFill>
                  <a:schemeClr val="bg1"/>
                </a:solidFill>
              </a:rPr>
              <a:t>Solutioning</a:t>
            </a:r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171" name="Group 170"/>
          <p:cNvGrpSpPr/>
          <p:nvPr/>
        </p:nvGrpSpPr>
        <p:grpSpPr>
          <a:xfrm>
            <a:off x="3408877" y="4017456"/>
            <a:ext cx="815406" cy="917575"/>
            <a:chOff x="1323975" y="4225925"/>
            <a:chExt cx="815406" cy="917575"/>
          </a:xfrm>
        </p:grpSpPr>
        <p:grpSp>
          <p:nvGrpSpPr>
            <p:cNvPr id="172" name="Group 20"/>
            <p:cNvGrpSpPr>
              <a:grpSpLocks noChangeAspect="1"/>
            </p:cNvGrpSpPr>
            <p:nvPr/>
          </p:nvGrpSpPr>
          <p:grpSpPr bwMode="auto">
            <a:xfrm>
              <a:off x="1326581" y="4225925"/>
              <a:ext cx="812800" cy="917575"/>
              <a:chOff x="2624" y="1337"/>
              <a:chExt cx="512" cy="578"/>
            </a:xfrm>
          </p:grpSpPr>
          <p:sp>
            <p:nvSpPr>
              <p:cNvPr id="174" name="AutoShape 19"/>
              <p:cNvSpPr>
                <a:spLocks noChangeAspect="1" noChangeArrowheads="1" noTextEdit="1"/>
              </p:cNvSpPr>
              <p:nvPr/>
            </p:nvSpPr>
            <p:spPr bwMode="auto">
              <a:xfrm>
                <a:off x="2624" y="1337"/>
                <a:ext cx="512" cy="5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" name="Freeform 21"/>
              <p:cNvSpPr>
                <a:spLocks/>
              </p:cNvSpPr>
              <p:nvPr/>
            </p:nvSpPr>
            <p:spPr bwMode="auto">
              <a:xfrm>
                <a:off x="2756" y="1345"/>
                <a:ext cx="248" cy="332"/>
              </a:xfrm>
              <a:custGeom>
                <a:avLst/>
                <a:gdLst>
                  <a:gd name="T0" fmla="*/ 165 w 248"/>
                  <a:gd name="T1" fmla="*/ 0 h 332"/>
                  <a:gd name="T2" fmla="*/ 0 w 248"/>
                  <a:gd name="T3" fmla="*/ 0 h 332"/>
                  <a:gd name="T4" fmla="*/ 0 w 248"/>
                  <a:gd name="T5" fmla="*/ 332 h 332"/>
                  <a:gd name="T6" fmla="*/ 248 w 248"/>
                  <a:gd name="T7" fmla="*/ 332 h 332"/>
                  <a:gd name="T8" fmla="*/ 248 w 248"/>
                  <a:gd name="T9" fmla="*/ 83 h 332"/>
                  <a:gd name="T10" fmla="*/ 165 w 248"/>
                  <a:gd name="T11" fmla="*/ 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8" h="332">
                    <a:moveTo>
                      <a:pt x="165" y="0"/>
                    </a:moveTo>
                    <a:lnTo>
                      <a:pt x="0" y="0"/>
                    </a:lnTo>
                    <a:lnTo>
                      <a:pt x="0" y="332"/>
                    </a:lnTo>
                    <a:lnTo>
                      <a:pt x="248" y="332"/>
                    </a:lnTo>
                    <a:lnTo>
                      <a:pt x="248" y="83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" name="Freeform 22"/>
              <p:cNvSpPr>
                <a:spLocks/>
              </p:cNvSpPr>
              <p:nvPr/>
            </p:nvSpPr>
            <p:spPr bwMode="auto">
              <a:xfrm>
                <a:off x="2756" y="1345"/>
                <a:ext cx="248" cy="332"/>
              </a:xfrm>
              <a:custGeom>
                <a:avLst/>
                <a:gdLst>
                  <a:gd name="T0" fmla="*/ 165 w 248"/>
                  <a:gd name="T1" fmla="*/ 0 h 332"/>
                  <a:gd name="T2" fmla="*/ 0 w 248"/>
                  <a:gd name="T3" fmla="*/ 0 h 332"/>
                  <a:gd name="T4" fmla="*/ 0 w 248"/>
                  <a:gd name="T5" fmla="*/ 332 h 332"/>
                  <a:gd name="T6" fmla="*/ 248 w 248"/>
                  <a:gd name="T7" fmla="*/ 332 h 332"/>
                  <a:gd name="T8" fmla="*/ 248 w 248"/>
                  <a:gd name="T9" fmla="*/ 83 h 332"/>
                  <a:gd name="T10" fmla="*/ 165 w 248"/>
                  <a:gd name="T11" fmla="*/ 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8" h="332">
                    <a:moveTo>
                      <a:pt x="165" y="0"/>
                    </a:moveTo>
                    <a:lnTo>
                      <a:pt x="0" y="0"/>
                    </a:lnTo>
                    <a:lnTo>
                      <a:pt x="0" y="332"/>
                    </a:lnTo>
                    <a:lnTo>
                      <a:pt x="248" y="332"/>
                    </a:lnTo>
                    <a:lnTo>
                      <a:pt x="248" y="83"/>
                    </a:lnTo>
                    <a:lnTo>
                      <a:pt x="165" y="0"/>
                    </a:lnTo>
                    <a:close/>
                  </a:path>
                </a:pathLst>
              </a:custGeom>
              <a:noFill/>
              <a:ln w="793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7" name="Freeform 23"/>
              <p:cNvSpPr>
                <a:spLocks/>
              </p:cNvSpPr>
              <p:nvPr/>
            </p:nvSpPr>
            <p:spPr bwMode="auto">
              <a:xfrm>
                <a:off x="2921" y="1345"/>
                <a:ext cx="83" cy="83"/>
              </a:xfrm>
              <a:custGeom>
                <a:avLst/>
                <a:gdLst>
                  <a:gd name="T0" fmla="*/ 0 w 83"/>
                  <a:gd name="T1" fmla="*/ 83 h 83"/>
                  <a:gd name="T2" fmla="*/ 83 w 83"/>
                  <a:gd name="T3" fmla="*/ 83 h 83"/>
                  <a:gd name="T4" fmla="*/ 0 w 83"/>
                  <a:gd name="T5" fmla="*/ 0 h 83"/>
                  <a:gd name="T6" fmla="*/ 0 w 83"/>
                  <a:gd name="T7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3" h="83">
                    <a:moveTo>
                      <a:pt x="0" y="83"/>
                    </a:moveTo>
                    <a:lnTo>
                      <a:pt x="83" y="83"/>
                    </a:lnTo>
                    <a:lnTo>
                      <a:pt x="0" y="0"/>
                    </a:ln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8F8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8" name="Freeform 24"/>
              <p:cNvSpPr>
                <a:spLocks/>
              </p:cNvSpPr>
              <p:nvPr/>
            </p:nvSpPr>
            <p:spPr bwMode="auto">
              <a:xfrm>
                <a:off x="2921" y="1345"/>
                <a:ext cx="83" cy="83"/>
              </a:xfrm>
              <a:custGeom>
                <a:avLst/>
                <a:gdLst>
                  <a:gd name="T0" fmla="*/ 0 w 83"/>
                  <a:gd name="T1" fmla="*/ 83 h 83"/>
                  <a:gd name="T2" fmla="*/ 83 w 83"/>
                  <a:gd name="T3" fmla="*/ 83 h 83"/>
                  <a:gd name="T4" fmla="*/ 0 w 83"/>
                  <a:gd name="T5" fmla="*/ 0 h 83"/>
                  <a:gd name="T6" fmla="*/ 0 w 83"/>
                  <a:gd name="T7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3" h="83">
                    <a:moveTo>
                      <a:pt x="0" y="83"/>
                    </a:moveTo>
                    <a:lnTo>
                      <a:pt x="83" y="83"/>
                    </a:lnTo>
                    <a:lnTo>
                      <a:pt x="0" y="0"/>
                    </a:lnTo>
                    <a:lnTo>
                      <a:pt x="0" y="83"/>
                    </a:lnTo>
                    <a:close/>
                  </a:path>
                </a:pathLst>
              </a:custGeom>
              <a:noFill/>
              <a:ln w="793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9" name="Rectangle 28"/>
              <p:cNvSpPr>
                <a:spLocks noChangeArrowheads="1"/>
              </p:cNvSpPr>
              <p:nvPr/>
            </p:nvSpPr>
            <p:spPr bwMode="auto">
              <a:xfrm>
                <a:off x="2801" y="1741"/>
                <a:ext cx="0" cy="1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alt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173" name="TextBox 172"/>
            <p:cNvSpPr txBox="1"/>
            <p:nvPr/>
          </p:nvSpPr>
          <p:spPr>
            <a:xfrm>
              <a:off x="1323975" y="4735971"/>
              <a:ext cx="815406" cy="27699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dirty="0" smtClean="0"/>
                <a:t>UPDATED BUSINESS CASE</a:t>
              </a:r>
              <a:endParaRPr lang="en-US" sz="600" dirty="0"/>
            </a:p>
          </p:txBody>
        </p:sp>
      </p:grpSp>
      <p:grpSp>
        <p:nvGrpSpPr>
          <p:cNvPr id="180" name="Group 179"/>
          <p:cNvGrpSpPr/>
          <p:nvPr/>
        </p:nvGrpSpPr>
        <p:grpSpPr>
          <a:xfrm>
            <a:off x="7143883" y="3893232"/>
            <a:ext cx="815406" cy="971711"/>
            <a:chOff x="6160331" y="4016176"/>
            <a:chExt cx="815406" cy="971711"/>
          </a:xfrm>
        </p:grpSpPr>
        <p:grpSp>
          <p:nvGrpSpPr>
            <p:cNvPr id="181" name="Group 20"/>
            <p:cNvGrpSpPr>
              <a:grpSpLocks noChangeAspect="1"/>
            </p:cNvGrpSpPr>
            <p:nvPr/>
          </p:nvGrpSpPr>
          <p:grpSpPr bwMode="auto">
            <a:xfrm>
              <a:off x="6162937" y="4016176"/>
              <a:ext cx="812800" cy="917575"/>
              <a:chOff x="2624" y="1337"/>
              <a:chExt cx="512" cy="578"/>
            </a:xfrm>
          </p:grpSpPr>
          <p:sp>
            <p:nvSpPr>
              <p:cNvPr id="184" name="AutoShape 19"/>
              <p:cNvSpPr>
                <a:spLocks noChangeAspect="1" noChangeArrowheads="1" noTextEdit="1"/>
              </p:cNvSpPr>
              <p:nvPr/>
            </p:nvSpPr>
            <p:spPr bwMode="auto">
              <a:xfrm>
                <a:off x="2624" y="1337"/>
                <a:ext cx="512" cy="5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" name="Freeform 21"/>
              <p:cNvSpPr>
                <a:spLocks/>
              </p:cNvSpPr>
              <p:nvPr/>
            </p:nvSpPr>
            <p:spPr bwMode="auto">
              <a:xfrm>
                <a:off x="2756" y="1345"/>
                <a:ext cx="248" cy="332"/>
              </a:xfrm>
              <a:custGeom>
                <a:avLst/>
                <a:gdLst>
                  <a:gd name="T0" fmla="*/ 165 w 248"/>
                  <a:gd name="T1" fmla="*/ 0 h 332"/>
                  <a:gd name="T2" fmla="*/ 0 w 248"/>
                  <a:gd name="T3" fmla="*/ 0 h 332"/>
                  <a:gd name="T4" fmla="*/ 0 w 248"/>
                  <a:gd name="T5" fmla="*/ 332 h 332"/>
                  <a:gd name="T6" fmla="*/ 248 w 248"/>
                  <a:gd name="T7" fmla="*/ 332 h 332"/>
                  <a:gd name="T8" fmla="*/ 248 w 248"/>
                  <a:gd name="T9" fmla="*/ 83 h 332"/>
                  <a:gd name="T10" fmla="*/ 165 w 248"/>
                  <a:gd name="T11" fmla="*/ 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8" h="332">
                    <a:moveTo>
                      <a:pt x="165" y="0"/>
                    </a:moveTo>
                    <a:lnTo>
                      <a:pt x="0" y="0"/>
                    </a:lnTo>
                    <a:lnTo>
                      <a:pt x="0" y="332"/>
                    </a:lnTo>
                    <a:lnTo>
                      <a:pt x="248" y="332"/>
                    </a:lnTo>
                    <a:lnTo>
                      <a:pt x="248" y="83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" name="Freeform 22"/>
              <p:cNvSpPr>
                <a:spLocks/>
              </p:cNvSpPr>
              <p:nvPr/>
            </p:nvSpPr>
            <p:spPr bwMode="auto">
              <a:xfrm>
                <a:off x="2756" y="1345"/>
                <a:ext cx="248" cy="332"/>
              </a:xfrm>
              <a:custGeom>
                <a:avLst/>
                <a:gdLst>
                  <a:gd name="T0" fmla="*/ 165 w 248"/>
                  <a:gd name="T1" fmla="*/ 0 h 332"/>
                  <a:gd name="T2" fmla="*/ 0 w 248"/>
                  <a:gd name="T3" fmla="*/ 0 h 332"/>
                  <a:gd name="T4" fmla="*/ 0 w 248"/>
                  <a:gd name="T5" fmla="*/ 332 h 332"/>
                  <a:gd name="T6" fmla="*/ 248 w 248"/>
                  <a:gd name="T7" fmla="*/ 332 h 332"/>
                  <a:gd name="T8" fmla="*/ 248 w 248"/>
                  <a:gd name="T9" fmla="*/ 83 h 332"/>
                  <a:gd name="T10" fmla="*/ 165 w 248"/>
                  <a:gd name="T11" fmla="*/ 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8" h="332">
                    <a:moveTo>
                      <a:pt x="165" y="0"/>
                    </a:moveTo>
                    <a:lnTo>
                      <a:pt x="0" y="0"/>
                    </a:lnTo>
                    <a:lnTo>
                      <a:pt x="0" y="332"/>
                    </a:lnTo>
                    <a:lnTo>
                      <a:pt x="248" y="332"/>
                    </a:lnTo>
                    <a:lnTo>
                      <a:pt x="248" y="83"/>
                    </a:lnTo>
                    <a:lnTo>
                      <a:pt x="165" y="0"/>
                    </a:lnTo>
                    <a:close/>
                  </a:path>
                </a:pathLst>
              </a:custGeom>
              <a:noFill/>
              <a:ln w="793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" name="Freeform 23"/>
              <p:cNvSpPr>
                <a:spLocks/>
              </p:cNvSpPr>
              <p:nvPr/>
            </p:nvSpPr>
            <p:spPr bwMode="auto">
              <a:xfrm>
                <a:off x="2921" y="1345"/>
                <a:ext cx="83" cy="83"/>
              </a:xfrm>
              <a:custGeom>
                <a:avLst/>
                <a:gdLst>
                  <a:gd name="T0" fmla="*/ 0 w 83"/>
                  <a:gd name="T1" fmla="*/ 83 h 83"/>
                  <a:gd name="T2" fmla="*/ 83 w 83"/>
                  <a:gd name="T3" fmla="*/ 83 h 83"/>
                  <a:gd name="T4" fmla="*/ 0 w 83"/>
                  <a:gd name="T5" fmla="*/ 0 h 83"/>
                  <a:gd name="T6" fmla="*/ 0 w 83"/>
                  <a:gd name="T7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3" h="83">
                    <a:moveTo>
                      <a:pt x="0" y="83"/>
                    </a:moveTo>
                    <a:lnTo>
                      <a:pt x="83" y="83"/>
                    </a:lnTo>
                    <a:lnTo>
                      <a:pt x="0" y="0"/>
                    </a:ln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8F8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8" name="Freeform 24"/>
              <p:cNvSpPr>
                <a:spLocks/>
              </p:cNvSpPr>
              <p:nvPr/>
            </p:nvSpPr>
            <p:spPr bwMode="auto">
              <a:xfrm>
                <a:off x="2921" y="1345"/>
                <a:ext cx="83" cy="83"/>
              </a:xfrm>
              <a:custGeom>
                <a:avLst/>
                <a:gdLst>
                  <a:gd name="T0" fmla="*/ 0 w 83"/>
                  <a:gd name="T1" fmla="*/ 83 h 83"/>
                  <a:gd name="T2" fmla="*/ 83 w 83"/>
                  <a:gd name="T3" fmla="*/ 83 h 83"/>
                  <a:gd name="T4" fmla="*/ 0 w 83"/>
                  <a:gd name="T5" fmla="*/ 0 h 83"/>
                  <a:gd name="T6" fmla="*/ 0 w 83"/>
                  <a:gd name="T7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3" h="83">
                    <a:moveTo>
                      <a:pt x="0" y="83"/>
                    </a:moveTo>
                    <a:lnTo>
                      <a:pt x="83" y="83"/>
                    </a:lnTo>
                    <a:lnTo>
                      <a:pt x="0" y="0"/>
                    </a:lnTo>
                    <a:lnTo>
                      <a:pt x="0" y="83"/>
                    </a:lnTo>
                    <a:close/>
                  </a:path>
                </a:pathLst>
              </a:custGeom>
              <a:noFill/>
              <a:ln w="793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9" name="Rectangle 28"/>
              <p:cNvSpPr>
                <a:spLocks noChangeArrowheads="1"/>
              </p:cNvSpPr>
              <p:nvPr/>
            </p:nvSpPr>
            <p:spPr bwMode="auto">
              <a:xfrm>
                <a:off x="2801" y="1741"/>
                <a:ext cx="0" cy="1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alt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182" name="TextBox 181"/>
            <p:cNvSpPr txBox="1"/>
            <p:nvPr/>
          </p:nvSpPr>
          <p:spPr>
            <a:xfrm>
              <a:off x="6160331" y="4526222"/>
              <a:ext cx="815406" cy="27699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dirty="0" smtClean="0"/>
                <a:t>UPDATED BUSINESS CASE</a:t>
              </a:r>
              <a:endParaRPr lang="en-US" sz="600" dirty="0"/>
            </a:p>
          </p:txBody>
        </p:sp>
        <p:sp>
          <p:nvSpPr>
            <p:cNvPr id="183" name="TextBox 182"/>
            <p:cNvSpPr txBox="1"/>
            <p:nvPr/>
          </p:nvSpPr>
          <p:spPr>
            <a:xfrm>
              <a:off x="6160331" y="4803221"/>
              <a:ext cx="815406" cy="18466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dirty="0" smtClean="0"/>
                <a:t>APPROVED</a:t>
              </a:r>
              <a:endParaRPr lang="en-US" sz="600" dirty="0"/>
            </a:p>
          </p:txBody>
        </p:sp>
      </p:grpSp>
      <p:cxnSp>
        <p:nvCxnSpPr>
          <p:cNvPr id="190" name="Straight Arrow Connector 86"/>
          <p:cNvCxnSpPr/>
          <p:nvPr/>
        </p:nvCxnSpPr>
        <p:spPr>
          <a:xfrm>
            <a:off x="3756204" y="1576206"/>
            <a:ext cx="0" cy="2468038"/>
          </a:xfrm>
          <a:prstGeom prst="straightConnector1">
            <a:avLst/>
          </a:prstGeom>
          <a:ln w="28575">
            <a:solidFill>
              <a:schemeClr val="bg1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Straight Arrow Connector 86"/>
          <p:cNvCxnSpPr/>
          <p:nvPr/>
        </p:nvCxnSpPr>
        <p:spPr>
          <a:xfrm flipH="1" flipV="1">
            <a:off x="3661748" y="1576206"/>
            <a:ext cx="2252" cy="2468038"/>
          </a:xfrm>
          <a:prstGeom prst="straightConnector1">
            <a:avLst/>
          </a:prstGeom>
          <a:ln w="28575">
            <a:solidFill>
              <a:schemeClr val="bg1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2" name="Group 191"/>
          <p:cNvGrpSpPr/>
          <p:nvPr/>
        </p:nvGrpSpPr>
        <p:grpSpPr>
          <a:xfrm>
            <a:off x="7130364" y="1790744"/>
            <a:ext cx="1624375" cy="813783"/>
            <a:chOff x="2826327" y="1813695"/>
            <a:chExt cx="1624375" cy="813783"/>
          </a:xfrm>
        </p:grpSpPr>
        <p:sp>
          <p:nvSpPr>
            <p:cNvPr id="193" name="Rectangle 192"/>
            <p:cNvSpPr/>
            <p:nvPr/>
          </p:nvSpPr>
          <p:spPr>
            <a:xfrm>
              <a:off x="2826327" y="1929281"/>
              <a:ext cx="1473958" cy="698197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 smtClean="0">
                  <a:solidFill>
                    <a:schemeClr val="accent2"/>
                  </a:solidFill>
                </a:rPr>
                <a:t>APPROVE BUSINESS CASE</a:t>
              </a:r>
              <a:endParaRPr lang="en-US" sz="1000" b="1" dirty="0">
                <a:solidFill>
                  <a:schemeClr val="accent2"/>
                </a:solidFill>
              </a:endParaRPr>
            </a:p>
          </p:txBody>
        </p:sp>
        <p:sp>
          <p:nvSpPr>
            <p:cNvPr id="194" name="Oval 193"/>
            <p:cNvSpPr/>
            <p:nvPr/>
          </p:nvSpPr>
          <p:spPr>
            <a:xfrm>
              <a:off x="4189397" y="1822609"/>
              <a:ext cx="221776" cy="213341"/>
            </a:xfrm>
            <a:prstGeom prst="ellipse">
              <a:avLst/>
            </a:prstGeom>
            <a:solidFill>
              <a:srgbClr val="3F3F3F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195" name="TextBox 194"/>
            <p:cNvSpPr txBox="1"/>
            <p:nvPr/>
          </p:nvSpPr>
          <p:spPr>
            <a:xfrm>
              <a:off x="4137796" y="1813695"/>
              <a:ext cx="312906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dirty="0" smtClean="0">
                  <a:solidFill>
                    <a:schemeClr val="bg1"/>
                  </a:solidFill>
                </a:rPr>
                <a:t>16</a:t>
              </a:r>
              <a:endParaRPr lang="en-US" sz="900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196" name="Elbow Connector 100"/>
          <p:cNvCxnSpPr>
            <a:stCxn id="193" idx="2"/>
            <a:endCxn id="169" idx="0"/>
          </p:cNvCxnSpPr>
          <p:nvPr/>
        </p:nvCxnSpPr>
        <p:spPr>
          <a:xfrm>
            <a:off x="7867343" y="2604527"/>
            <a:ext cx="948" cy="508386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Straight Arrow Connector 86"/>
          <p:cNvCxnSpPr/>
          <p:nvPr/>
        </p:nvCxnSpPr>
        <p:spPr>
          <a:xfrm>
            <a:off x="7496154" y="2604527"/>
            <a:ext cx="0" cy="1301405"/>
          </a:xfrm>
          <a:prstGeom prst="straightConnector1">
            <a:avLst/>
          </a:prstGeom>
          <a:ln w="28575">
            <a:solidFill>
              <a:schemeClr val="bg1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Arrow Connector 96"/>
          <p:cNvCxnSpPr>
            <a:endCxn id="175" idx="4"/>
          </p:cNvCxnSpPr>
          <p:nvPr/>
        </p:nvCxnSpPr>
        <p:spPr>
          <a:xfrm rot="5400000">
            <a:off x="3404196" y="3215066"/>
            <a:ext cx="1557390" cy="336316"/>
          </a:xfrm>
          <a:prstGeom prst="bentConnector2">
            <a:avLst/>
          </a:prstGeom>
          <a:ln w="28575">
            <a:solidFill>
              <a:schemeClr val="bg1"/>
            </a:solidFill>
            <a:prstDash val="sysDash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Arrow Connector 96"/>
          <p:cNvCxnSpPr/>
          <p:nvPr/>
        </p:nvCxnSpPr>
        <p:spPr>
          <a:xfrm rot="10800000" flipV="1">
            <a:off x="3867603" y="2595889"/>
            <a:ext cx="3391579" cy="1753251"/>
          </a:xfrm>
          <a:prstGeom prst="bentConnector3">
            <a:avLst>
              <a:gd name="adj1" fmla="val -297"/>
            </a:avLst>
          </a:prstGeom>
          <a:ln w="28575">
            <a:solidFill>
              <a:schemeClr val="bg1"/>
            </a:solidFill>
            <a:prstDash val="sysDash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8" name="Group 97"/>
          <p:cNvGrpSpPr/>
          <p:nvPr/>
        </p:nvGrpSpPr>
        <p:grpSpPr>
          <a:xfrm>
            <a:off x="1418558" y="4017895"/>
            <a:ext cx="815406" cy="917575"/>
            <a:chOff x="1323975" y="4225925"/>
            <a:chExt cx="815406" cy="917575"/>
          </a:xfrm>
        </p:grpSpPr>
        <p:grpSp>
          <p:nvGrpSpPr>
            <p:cNvPr id="99" name="Group 20"/>
            <p:cNvGrpSpPr>
              <a:grpSpLocks noChangeAspect="1"/>
            </p:cNvGrpSpPr>
            <p:nvPr/>
          </p:nvGrpSpPr>
          <p:grpSpPr bwMode="auto">
            <a:xfrm>
              <a:off x="1326581" y="4225925"/>
              <a:ext cx="812800" cy="917575"/>
              <a:chOff x="2624" y="1337"/>
              <a:chExt cx="512" cy="578"/>
            </a:xfrm>
          </p:grpSpPr>
          <p:sp>
            <p:nvSpPr>
              <p:cNvPr id="101" name="AutoShape 19"/>
              <p:cNvSpPr>
                <a:spLocks noChangeAspect="1" noChangeArrowheads="1" noTextEdit="1"/>
              </p:cNvSpPr>
              <p:nvPr/>
            </p:nvSpPr>
            <p:spPr bwMode="auto">
              <a:xfrm>
                <a:off x="2624" y="1337"/>
                <a:ext cx="512" cy="5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1"/>
              <p:cNvSpPr>
                <a:spLocks/>
              </p:cNvSpPr>
              <p:nvPr/>
            </p:nvSpPr>
            <p:spPr bwMode="auto">
              <a:xfrm>
                <a:off x="2756" y="1345"/>
                <a:ext cx="248" cy="332"/>
              </a:xfrm>
              <a:custGeom>
                <a:avLst/>
                <a:gdLst>
                  <a:gd name="T0" fmla="*/ 165 w 248"/>
                  <a:gd name="T1" fmla="*/ 0 h 332"/>
                  <a:gd name="T2" fmla="*/ 0 w 248"/>
                  <a:gd name="T3" fmla="*/ 0 h 332"/>
                  <a:gd name="T4" fmla="*/ 0 w 248"/>
                  <a:gd name="T5" fmla="*/ 332 h 332"/>
                  <a:gd name="T6" fmla="*/ 248 w 248"/>
                  <a:gd name="T7" fmla="*/ 332 h 332"/>
                  <a:gd name="T8" fmla="*/ 248 w 248"/>
                  <a:gd name="T9" fmla="*/ 83 h 332"/>
                  <a:gd name="T10" fmla="*/ 165 w 248"/>
                  <a:gd name="T11" fmla="*/ 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8" h="332">
                    <a:moveTo>
                      <a:pt x="165" y="0"/>
                    </a:moveTo>
                    <a:lnTo>
                      <a:pt x="0" y="0"/>
                    </a:lnTo>
                    <a:lnTo>
                      <a:pt x="0" y="332"/>
                    </a:lnTo>
                    <a:lnTo>
                      <a:pt x="248" y="332"/>
                    </a:lnTo>
                    <a:lnTo>
                      <a:pt x="248" y="83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2"/>
              <p:cNvSpPr>
                <a:spLocks/>
              </p:cNvSpPr>
              <p:nvPr/>
            </p:nvSpPr>
            <p:spPr bwMode="auto">
              <a:xfrm>
                <a:off x="2756" y="1345"/>
                <a:ext cx="248" cy="332"/>
              </a:xfrm>
              <a:custGeom>
                <a:avLst/>
                <a:gdLst>
                  <a:gd name="T0" fmla="*/ 165 w 248"/>
                  <a:gd name="T1" fmla="*/ 0 h 332"/>
                  <a:gd name="T2" fmla="*/ 0 w 248"/>
                  <a:gd name="T3" fmla="*/ 0 h 332"/>
                  <a:gd name="T4" fmla="*/ 0 w 248"/>
                  <a:gd name="T5" fmla="*/ 332 h 332"/>
                  <a:gd name="T6" fmla="*/ 248 w 248"/>
                  <a:gd name="T7" fmla="*/ 332 h 332"/>
                  <a:gd name="T8" fmla="*/ 248 w 248"/>
                  <a:gd name="T9" fmla="*/ 83 h 332"/>
                  <a:gd name="T10" fmla="*/ 165 w 248"/>
                  <a:gd name="T11" fmla="*/ 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8" h="332">
                    <a:moveTo>
                      <a:pt x="165" y="0"/>
                    </a:moveTo>
                    <a:lnTo>
                      <a:pt x="0" y="0"/>
                    </a:lnTo>
                    <a:lnTo>
                      <a:pt x="0" y="332"/>
                    </a:lnTo>
                    <a:lnTo>
                      <a:pt x="248" y="332"/>
                    </a:lnTo>
                    <a:lnTo>
                      <a:pt x="248" y="83"/>
                    </a:lnTo>
                    <a:lnTo>
                      <a:pt x="165" y="0"/>
                    </a:lnTo>
                    <a:close/>
                  </a:path>
                </a:pathLst>
              </a:custGeom>
              <a:noFill/>
              <a:ln w="793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3"/>
              <p:cNvSpPr>
                <a:spLocks/>
              </p:cNvSpPr>
              <p:nvPr/>
            </p:nvSpPr>
            <p:spPr bwMode="auto">
              <a:xfrm>
                <a:off x="2921" y="1345"/>
                <a:ext cx="83" cy="83"/>
              </a:xfrm>
              <a:custGeom>
                <a:avLst/>
                <a:gdLst>
                  <a:gd name="T0" fmla="*/ 0 w 83"/>
                  <a:gd name="T1" fmla="*/ 83 h 83"/>
                  <a:gd name="T2" fmla="*/ 83 w 83"/>
                  <a:gd name="T3" fmla="*/ 83 h 83"/>
                  <a:gd name="T4" fmla="*/ 0 w 83"/>
                  <a:gd name="T5" fmla="*/ 0 h 83"/>
                  <a:gd name="T6" fmla="*/ 0 w 83"/>
                  <a:gd name="T7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3" h="83">
                    <a:moveTo>
                      <a:pt x="0" y="83"/>
                    </a:moveTo>
                    <a:lnTo>
                      <a:pt x="83" y="83"/>
                    </a:lnTo>
                    <a:lnTo>
                      <a:pt x="0" y="0"/>
                    </a:ln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8F8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4"/>
              <p:cNvSpPr>
                <a:spLocks/>
              </p:cNvSpPr>
              <p:nvPr/>
            </p:nvSpPr>
            <p:spPr bwMode="auto">
              <a:xfrm>
                <a:off x="2921" y="1345"/>
                <a:ext cx="83" cy="83"/>
              </a:xfrm>
              <a:custGeom>
                <a:avLst/>
                <a:gdLst>
                  <a:gd name="T0" fmla="*/ 0 w 83"/>
                  <a:gd name="T1" fmla="*/ 83 h 83"/>
                  <a:gd name="T2" fmla="*/ 83 w 83"/>
                  <a:gd name="T3" fmla="*/ 83 h 83"/>
                  <a:gd name="T4" fmla="*/ 0 w 83"/>
                  <a:gd name="T5" fmla="*/ 0 h 83"/>
                  <a:gd name="T6" fmla="*/ 0 w 83"/>
                  <a:gd name="T7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3" h="83">
                    <a:moveTo>
                      <a:pt x="0" y="83"/>
                    </a:moveTo>
                    <a:lnTo>
                      <a:pt x="83" y="83"/>
                    </a:lnTo>
                    <a:lnTo>
                      <a:pt x="0" y="0"/>
                    </a:lnTo>
                    <a:lnTo>
                      <a:pt x="0" y="83"/>
                    </a:lnTo>
                    <a:close/>
                  </a:path>
                </a:pathLst>
              </a:custGeom>
              <a:noFill/>
              <a:ln w="793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28"/>
              <p:cNvSpPr>
                <a:spLocks noChangeArrowheads="1"/>
              </p:cNvSpPr>
              <p:nvPr/>
            </p:nvSpPr>
            <p:spPr bwMode="auto">
              <a:xfrm>
                <a:off x="2801" y="1741"/>
                <a:ext cx="0" cy="1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alt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100" name="TextBox 99"/>
            <p:cNvSpPr txBox="1"/>
            <p:nvPr/>
          </p:nvSpPr>
          <p:spPr>
            <a:xfrm>
              <a:off x="1323975" y="4735971"/>
              <a:ext cx="815406" cy="27699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dirty="0" smtClean="0"/>
                <a:t>COMPLEXITY CALCULATOR</a:t>
              </a:r>
              <a:endParaRPr lang="en-US" sz="600" dirty="0"/>
            </a:p>
          </p:txBody>
        </p:sp>
      </p:grpSp>
      <p:cxnSp>
        <p:nvCxnSpPr>
          <p:cNvPr id="110" name="Straight Arrow Connector 86"/>
          <p:cNvCxnSpPr/>
          <p:nvPr/>
        </p:nvCxnSpPr>
        <p:spPr>
          <a:xfrm>
            <a:off x="1881308" y="1576206"/>
            <a:ext cx="0" cy="2468038"/>
          </a:xfrm>
          <a:prstGeom prst="straightConnector1">
            <a:avLst/>
          </a:prstGeom>
          <a:ln w="28575">
            <a:solidFill>
              <a:schemeClr val="bg1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Arrow Connector 86"/>
          <p:cNvCxnSpPr/>
          <p:nvPr/>
        </p:nvCxnSpPr>
        <p:spPr>
          <a:xfrm flipH="1" flipV="1">
            <a:off x="1786852" y="1576206"/>
            <a:ext cx="2252" cy="2468038"/>
          </a:xfrm>
          <a:prstGeom prst="straightConnector1">
            <a:avLst/>
          </a:prstGeom>
          <a:ln w="28575">
            <a:solidFill>
              <a:schemeClr val="bg1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9997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/>
                </a:solidFill>
              </a:rPr>
              <a:t>Roles &amp; Responsibilitie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4073236" y="12468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/>
              <a:t>DISCOVERY</a:t>
            </a:r>
            <a:endParaRPr lang="en-US" sz="900" b="1" dirty="0"/>
          </a:p>
        </p:txBody>
      </p:sp>
      <p:sp>
        <p:nvSpPr>
          <p:cNvPr id="15" name="Rectangle 14"/>
          <p:cNvSpPr/>
          <p:nvPr/>
        </p:nvSpPr>
        <p:spPr>
          <a:xfrm>
            <a:off x="5320145" y="122842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/>
              <a:t>SOLUTIONING</a:t>
            </a:r>
            <a:endParaRPr lang="en-US" sz="900" b="1" dirty="0"/>
          </a:p>
        </p:txBody>
      </p:sp>
      <p:sp>
        <p:nvSpPr>
          <p:cNvPr id="16" name="Rectangle 15"/>
          <p:cNvSpPr/>
          <p:nvPr/>
        </p:nvSpPr>
        <p:spPr>
          <a:xfrm>
            <a:off x="6567054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/>
              <a:t>IMPLEMENTATION</a:t>
            </a:r>
            <a:endParaRPr lang="en-US" sz="900" b="1" dirty="0"/>
          </a:p>
        </p:txBody>
      </p:sp>
      <p:sp>
        <p:nvSpPr>
          <p:cNvPr id="17" name="Rectangle 16"/>
          <p:cNvSpPr/>
          <p:nvPr/>
        </p:nvSpPr>
        <p:spPr>
          <a:xfrm>
            <a:off x="7813963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/>
              <a:t>OPERATIONS</a:t>
            </a:r>
            <a:endParaRPr lang="en-US" sz="900" b="1" dirty="0"/>
          </a:p>
        </p:txBody>
      </p:sp>
      <p:sp>
        <p:nvSpPr>
          <p:cNvPr id="18" name="Rectangle 17"/>
          <p:cNvSpPr/>
          <p:nvPr/>
        </p:nvSpPr>
        <p:spPr>
          <a:xfrm>
            <a:off x="2826327" y="122842"/>
            <a:ext cx="1246909" cy="259773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/>
              <a:t>IDEATION</a:t>
            </a:r>
            <a:endParaRPr lang="en-US" sz="900" b="1" dirty="0"/>
          </a:p>
        </p:txBody>
      </p:sp>
    </p:spTree>
    <p:extLst>
      <p:ext uri="{BB962C8B-B14F-4D97-AF65-F5344CB8AC3E}">
        <p14:creationId xmlns:p14="http://schemas.microsoft.com/office/powerpoint/2010/main" val="1946081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4073236" y="12468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/>
              <a:t>DISCOVERY</a:t>
            </a:r>
            <a:endParaRPr lang="en-US" sz="900" b="1" dirty="0"/>
          </a:p>
        </p:txBody>
      </p:sp>
      <p:sp>
        <p:nvSpPr>
          <p:cNvPr id="15" name="Rectangle 14"/>
          <p:cNvSpPr/>
          <p:nvPr/>
        </p:nvSpPr>
        <p:spPr>
          <a:xfrm>
            <a:off x="5320145" y="122842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/>
              <a:t>SOLUTIONING</a:t>
            </a:r>
            <a:endParaRPr lang="en-US" sz="900" b="1" dirty="0"/>
          </a:p>
        </p:txBody>
      </p:sp>
      <p:sp>
        <p:nvSpPr>
          <p:cNvPr id="16" name="Rectangle 15"/>
          <p:cNvSpPr/>
          <p:nvPr/>
        </p:nvSpPr>
        <p:spPr>
          <a:xfrm>
            <a:off x="6567054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/>
              <a:t>IMPLEMENTATION</a:t>
            </a:r>
            <a:endParaRPr lang="en-US" sz="900" b="1" dirty="0"/>
          </a:p>
        </p:txBody>
      </p:sp>
      <p:sp>
        <p:nvSpPr>
          <p:cNvPr id="17" name="Rectangle 16"/>
          <p:cNvSpPr/>
          <p:nvPr/>
        </p:nvSpPr>
        <p:spPr>
          <a:xfrm>
            <a:off x="7813963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/>
              <a:t>OPERATIONS</a:t>
            </a:r>
            <a:endParaRPr lang="en-US" sz="900" b="1" dirty="0"/>
          </a:p>
        </p:txBody>
      </p:sp>
      <p:sp>
        <p:nvSpPr>
          <p:cNvPr id="18" name="Rectangle 17"/>
          <p:cNvSpPr/>
          <p:nvPr/>
        </p:nvSpPr>
        <p:spPr>
          <a:xfrm>
            <a:off x="2826327" y="122842"/>
            <a:ext cx="1246909" cy="259773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/>
              <a:t>IDEATION</a:t>
            </a:r>
            <a:endParaRPr lang="en-US" sz="900" b="1" dirty="0"/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5700795"/>
              </p:ext>
            </p:extLst>
          </p:nvPr>
        </p:nvGraphicFramePr>
        <p:xfrm>
          <a:off x="153683" y="1214077"/>
          <a:ext cx="6554478" cy="3649916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129454"/>
                <a:gridCol w="1312169"/>
                <a:gridCol w="709375"/>
                <a:gridCol w="680696"/>
                <a:gridCol w="680696"/>
                <a:gridCol w="680696"/>
                <a:gridCol w="680696"/>
                <a:gridCol w="680696"/>
              </a:tblGrid>
              <a:tr h="576796">
                <a:tc>
                  <a:txBody>
                    <a:bodyPr/>
                    <a:lstStyle/>
                    <a:p>
                      <a:pPr algn="ctr" fontAlgn="b"/>
                      <a:r>
                        <a:rPr lang="en-PH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ocess</a:t>
                      </a:r>
                      <a:endParaRPr lang="en-PH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unction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ocess </a:t>
                      </a:r>
                    </a:p>
                    <a:p>
                      <a:pPr algn="ctr" fontAlgn="b"/>
                      <a:r>
                        <a:rPr lang="en-PH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wner (s)</a:t>
                      </a:r>
                      <a:endParaRPr lang="en-PH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PA Evangelist</a:t>
                      </a:r>
                      <a:endParaRPr lang="en-PH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ocess</a:t>
                      </a:r>
                    </a:p>
                    <a:p>
                      <a:pPr algn="ctr" fontAlgn="b"/>
                      <a:r>
                        <a:rPr lang="en-PH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nalyst</a:t>
                      </a:r>
                      <a:r>
                        <a:rPr lang="en-PH" sz="11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(s)</a:t>
                      </a:r>
                      <a:endParaRPr lang="en-PH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Head of Function</a:t>
                      </a:r>
                      <a:endParaRPr lang="en-PH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inancial</a:t>
                      </a:r>
                      <a:r>
                        <a:rPr lang="en-PH" sz="11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Board</a:t>
                      </a:r>
                      <a:endParaRPr lang="en-PH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PA Service Owner</a:t>
                      </a:r>
                      <a:endParaRPr lang="en-PH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</a:tr>
              <a:tr h="38692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elect Process for RPA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 rowSpan="7">
                  <a:txBody>
                    <a:bodyPr/>
                    <a:lstStyle/>
                    <a:p>
                      <a:pPr algn="ctr" fontAlgn="b"/>
                      <a:r>
                        <a:rPr lang="en-PH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usiness </a:t>
                      </a:r>
                      <a:r>
                        <a:rPr lang="en-PH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Group/Business Unit</a:t>
                      </a:r>
                      <a:endParaRPr lang="en-PH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/A</a:t>
                      </a:r>
                      <a:endParaRPr lang="en-PH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  <a:endParaRPr lang="en-PH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  <a:endParaRPr lang="en-PH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H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H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H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</a:tr>
              <a:tr h="76666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nswer</a:t>
                      </a:r>
                      <a:r>
                        <a:rPr lang="en-US" sz="11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Initial Process Assessment Questionnaire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PH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/A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  <a:endParaRPr lang="en-PH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H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H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H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</a:tr>
              <a:tr h="38692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ssess RPA Eligibility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/I</a:t>
                      </a:r>
                      <a:endParaRPr lang="en-PH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/I</a:t>
                      </a:r>
                      <a:endParaRPr lang="en-PH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/A</a:t>
                      </a:r>
                      <a:endParaRPr lang="en-PH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</a:t>
                      </a:r>
                      <a:endParaRPr lang="en-PH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H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H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</a:tr>
              <a:tr h="38692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alculate Process Complexity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/I</a:t>
                      </a:r>
                      <a:endParaRPr lang="en-PH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/I</a:t>
                      </a:r>
                      <a:endParaRPr lang="en-PH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/A</a:t>
                      </a:r>
                      <a:endParaRPr lang="en-PH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H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H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</a:t>
                      </a:r>
                      <a:endParaRPr lang="en-PH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</a:tr>
              <a:tr h="37181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ompute</a:t>
                      </a:r>
                      <a:r>
                        <a:rPr lang="en-US" sz="11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ROI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/I</a:t>
                      </a:r>
                      <a:endParaRPr lang="en-PH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H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/A</a:t>
                      </a:r>
                      <a:endParaRPr lang="en-PH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H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H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H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</a:tr>
              <a:tr h="38692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reate Initial Business Case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/I</a:t>
                      </a:r>
                      <a:endParaRPr lang="en-PH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H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/A</a:t>
                      </a:r>
                      <a:endParaRPr lang="en-PH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</a:t>
                      </a:r>
                      <a:endParaRPr lang="en-PH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H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H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</a:tr>
              <a:tr h="38692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pprove</a:t>
                      </a:r>
                      <a:r>
                        <a:rPr lang="en-US" sz="1100" b="1" i="0" u="none" strike="noStrike" baseline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Initial Business Case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1100" b="1" i="0" u="none" strike="noStrike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I</a:t>
                      </a:r>
                      <a:endParaRPr lang="en-PH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H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  <a:endParaRPr lang="en-PH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  <a:endParaRPr lang="en-PH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/A</a:t>
                      </a:r>
                      <a:endParaRPr lang="en-PH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</a:t>
                      </a:r>
                      <a:endParaRPr lang="en-PH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</a:tr>
            </a:tbl>
          </a:graphicData>
        </a:graphic>
      </p:graphicFrame>
      <p:sp>
        <p:nvSpPr>
          <p:cNvPr id="11" name="Rectangle 10"/>
          <p:cNvSpPr/>
          <p:nvPr/>
        </p:nvSpPr>
        <p:spPr>
          <a:xfrm>
            <a:off x="6839264" y="1008684"/>
            <a:ext cx="2112264" cy="93539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PH" sz="1200" b="1" dirty="0" smtClean="0">
                <a:solidFill>
                  <a:schemeClr val="tx1"/>
                </a:solidFill>
              </a:rPr>
              <a:t>Responsible</a:t>
            </a:r>
          </a:p>
          <a:p>
            <a:r>
              <a:rPr lang="en-PH" sz="1100" dirty="0" smtClean="0">
                <a:solidFill>
                  <a:schemeClr val="bg1">
                    <a:lumMod val="65000"/>
                  </a:schemeClr>
                </a:solidFill>
              </a:rPr>
              <a:t>The team member who does the work to complete the task.</a:t>
            </a:r>
            <a:endParaRPr lang="en-PH" sz="11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839264" y="2030102"/>
            <a:ext cx="2112264" cy="93539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PH" sz="1200" b="1" dirty="0" smtClean="0">
                <a:solidFill>
                  <a:schemeClr val="tx1"/>
                </a:solidFill>
              </a:rPr>
              <a:t>Accountable</a:t>
            </a:r>
          </a:p>
          <a:p>
            <a:r>
              <a:rPr lang="en-PH" sz="1100" dirty="0" smtClean="0">
                <a:solidFill>
                  <a:schemeClr val="bg1">
                    <a:lumMod val="65000"/>
                  </a:schemeClr>
                </a:solidFill>
              </a:rPr>
              <a:t>The person who delegates work and provides final review on a task or deliverable before it’s deemed complete.</a:t>
            </a:r>
            <a:endParaRPr lang="en-PH" sz="11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839264" y="3051520"/>
            <a:ext cx="2112264" cy="93539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PH" sz="1200" b="1" dirty="0" smtClean="0">
                <a:solidFill>
                  <a:schemeClr val="tx1"/>
                </a:solidFill>
              </a:rPr>
              <a:t>Consulted</a:t>
            </a:r>
          </a:p>
          <a:p>
            <a:r>
              <a:rPr lang="en-PH" sz="1100" dirty="0" smtClean="0">
                <a:solidFill>
                  <a:schemeClr val="bg1">
                    <a:lumMod val="65000"/>
                  </a:schemeClr>
                </a:solidFill>
              </a:rPr>
              <a:t>People who provide input on a deliverable based on the impact on their work or their domain of expertise.</a:t>
            </a:r>
            <a:endParaRPr lang="en-PH" sz="11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6839264" y="4072938"/>
            <a:ext cx="2112264" cy="93539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PH" sz="1200" b="1" dirty="0" smtClean="0">
                <a:solidFill>
                  <a:schemeClr val="tx1"/>
                </a:solidFill>
              </a:rPr>
              <a:t>Informed</a:t>
            </a:r>
          </a:p>
          <a:p>
            <a:r>
              <a:rPr lang="en-PH" sz="1100" dirty="0" smtClean="0">
                <a:solidFill>
                  <a:schemeClr val="bg1">
                    <a:lumMod val="65000"/>
                  </a:schemeClr>
                </a:solidFill>
              </a:rPr>
              <a:t>People who need to be kept in the loop on the progress.</a:t>
            </a:r>
            <a:endParaRPr lang="en-PH" sz="11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0" name="Google Shape;59;p14"/>
          <p:cNvSpPr txBox="1">
            <a:spLocks/>
          </p:cNvSpPr>
          <p:nvPr/>
        </p:nvSpPr>
        <p:spPr>
          <a:xfrm>
            <a:off x="39560" y="-3130"/>
            <a:ext cx="2938997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500" b="1" dirty="0" smtClean="0">
                <a:solidFill>
                  <a:schemeClr val="bg1"/>
                </a:solidFill>
              </a:rPr>
              <a:t>RACI MATRIX</a:t>
            </a:r>
            <a:endParaRPr lang="en-US" sz="15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8436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Google Shape;227;p28"/>
          <p:cNvSpPr/>
          <p:nvPr/>
        </p:nvSpPr>
        <p:spPr>
          <a:xfrm>
            <a:off x="1068936" y="0"/>
            <a:ext cx="608782" cy="5143500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28" name="Google Shape;228;p28"/>
          <p:cNvGrpSpPr/>
          <p:nvPr/>
        </p:nvGrpSpPr>
        <p:grpSpPr>
          <a:xfrm>
            <a:off x="1" y="606173"/>
            <a:ext cx="5527496" cy="862441"/>
            <a:chOff x="1" y="707962"/>
            <a:chExt cx="7970291" cy="1630907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229" name="Google Shape;229;p28"/>
            <p:cNvSpPr/>
            <p:nvPr/>
          </p:nvSpPr>
          <p:spPr>
            <a:xfrm>
              <a:off x="2430999" y="1189024"/>
              <a:ext cx="5539293" cy="1149845"/>
            </a:xfrm>
            <a:prstGeom prst="homePlate">
              <a:avLst>
                <a:gd name="adj" fmla="val 50000"/>
              </a:avLst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296466"/>
              <a:r>
                <a:rPr lang="en-US" sz="1350" b="1" dirty="0" smtClean="0">
                  <a:solidFill>
                    <a:srgbClr val="FFFFFF"/>
                  </a:solidFill>
                </a:rPr>
                <a:t>Governance </a:t>
              </a:r>
              <a:r>
                <a:rPr lang="en-US" sz="1350" b="1" dirty="0">
                  <a:solidFill>
                    <a:srgbClr val="FFFFFF"/>
                  </a:solidFill>
                </a:rPr>
                <a:t>Model Overview</a:t>
              </a:r>
              <a:endParaRPr sz="135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0" name="Google Shape;230;p28"/>
            <p:cNvSpPr/>
            <p:nvPr/>
          </p:nvSpPr>
          <p:spPr>
            <a:xfrm>
              <a:off x="1" y="1189023"/>
              <a:ext cx="1542190" cy="1149845"/>
            </a:xfrm>
            <a:prstGeom prst="rect">
              <a:avLst/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31" name="Google Shape;231;p28"/>
            <p:cNvGrpSpPr/>
            <p:nvPr/>
          </p:nvGrpSpPr>
          <p:grpSpPr>
            <a:xfrm>
              <a:off x="1299942" y="707962"/>
              <a:ext cx="1373307" cy="1630907"/>
              <a:chOff x="1333213" y="283213"/>
              <a:chExt cx="1373307" cy="1630907"/>
            </a:xfrm>
            <a:grpFill/>
          </p:grpSpPr>
          <p:grpSp>
            <p:nvGrpSpPr>
              <p:cNvPr id="232" name="Google Shape;232;p28"/>
              <p:cNvGrpSpPr/>
              <p:nvPr/>
            </p:nvGrpSpPr>
            <p:grpSpPr>
              <a:xfrm>
                <a:off x="1333213" y="1647988"/>
                <a:ext cx="1373307" cy="266132"/>
                <a:chOff x="1333208" y="1624082"/>
                <a:chExt cx="1373307" cy="266132"/>
              </a:xfrm>
              <a:grpFill/>
            </p:grpSpPr>
            <p:sp>
              <p:nvSpPr>
                <p:cNvPr id="233" name="Google Shape;233;p28"/>
                <p:cNvSpPr/>
                <p:nvPr/>
              </p:nvSpPr>
              <p:spPr>
                <a:xfrm rot="10800000" flipH="1">
                  <a:off x="2464266" y="1624082"/>
                  <a:ext cx="242249" cy="266132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34" name="Google Shape;234;p28"/>
                <p:cNvSpPr/>
                <p:nvPr/>
              </p:nvSpPr>
              <p:spPr>
                <a:xfrm rot="10800000">
                  <a:off x="1333208" y="1624082"/>
                  <a:ext cx="242249" cy="266132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235" name="Google Shape;235;p28"/>
              <p:cNvSpPr/>
              <p:nvPr/>
            </p:nvSpPr>
            <p:spPr>
              <a:xfrm>
                <a:off x="1334066" y="283213"/>
                <a:ext cx="1371600" cy="137160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r>
                  <a:rPr lang="en-US" sz="4500" b="1" dirty="0">
                    <a:solidFill>
                      <a:srgbClr val="FFFFFF"/>
                    </a:solidFill>
                  </a:rPr>
                  <a:t>01</a:t>
                </a:r>
                <a:endParaRPr sz="1050" dirty="0"/>
              </a:p>
            </p:txBody>
          </p:sp>
        </p:grpSp>
      </p:grpSp>
      <p:grpSp>
        <p:nvGrpSpPr>
          <p:cNvPr id="236" name="Google Shape;236;p28"/>
          <p:cNvGrpSpPr/>
          <p:nvPr/>
        </p:nvGrpSpPr>
        <p:grpSpPr>
          <a:xfrm>
            <a:off x="1" y="1480057"/>
            <a:ext cx="5527496" cy="862441"/>
            <a:chOff x="1" y="2560623"/>
            <a:chExt cx="7970291" cy="1630907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237" name="Google Shape;237;p28"/>
            <p:cNvSpPr/>
            <p:nvPr/>
          </p:nvSpPr>
          <p:spPr>
            <a:xfrm>
              <a:off x="2430999" y="3041685"/>
              <a:ext cx="5539293" cy="1149845"/>
            </a:xfrm>
            <a:prstGeom prst="homePlate">
              <a:avLst>
                <a:gd name="adj" fmla="val 50000"/>
              </a:avLst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296466"/>
              <a:r>
                <a:rPr lang="en-US" sz="1350" b="1" dirty="0" smtClean="0">
                  <a:solidFill>
                    <a:srgbClr val="FFFFFF"/>
                  </a:solidFill>
                </a:rPr>
                <a:t>Process Selection Overview</a:t>
              </a:r>
              <a:endParaRPr sz="135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8" name="Google Shape;238;p28"/>
            <p:cNvSpPr/>
            <p:nvPr/>
          </p:nvSpPr>
          <p:spPr>
            <a:xfrm>
              <a:off x="1" y="3041684"/>
              <a:ext cx="1542190" cy="1149845"/>
            </a:xfrm>
            <a:prstGeom prst="rect">
              <a:avLst/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39" name="Google Shape;239;p28"/>
            <p:cNvGrpSpPr/>
            <p:nvPr/>
          </p:nvGrpSpPr>
          <p:grpSpPr>
            <a:xfrm>
              <a:off x="1299942" y="2560623"/>
              <a:ext cx="1373307" cy="1630907"/>
              <a:chOff x="1333213" y="283213"/>
              <a:chExt cx="1373307" cy="1630907"/>
            </a:xfrm>
            <a:grpFill/>
          </p:grpSpPr>
          <p:grpSp>
            <p:nvGrpSpPr>
              <p:cNvPr id="240" name="Google Shape;240;p28"/>
              <p:cNvGrpSpPr/>
              <p:nvPr/>
            </p:nvGrpSpPr>
            <p:grpSpPr>
              <a:xfrm>
                <a:off x="1333213" y="1647988"/>
                <a:ext cx="1373307" cy="266132"/>
                <a:chOff x="1333208" y="1624082"/>
                <a:chExt cx="1373307" cy="266132"/>
              </a:xfrm>
              <a:grpFill/>
            </p:grpSpPr>
            <p:sp>
              <p:nvSpPr>
                <p:cNvPr id="241" name="Google Shape;241;p28"/>
                <p:cNvSpPr/>
                <p:nvPr/>
              </p:nvSpPr>
              <p:spPr>
                <a:xfrm rot="10800000" flipH="1">
                  <a:off x="2464266" y="1624082"/>
                  <a:ext cx="242249" cy="266132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42" name="Google Shape;242;p28"/>
                <p:cNvSpPr/>
                <p:nvPr/>
              </p:nvSpPr>
              <p:spPr>
                <a:xfrm rot="10800000">
                  <a:off x="1333208" y="1624082"/>
                  <a:ext cx="242249" cy="266132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243" name="Google Shape;243;p28"/>
              <p:cNvSpPr/>
              <p:nvPr/>
            </p:nvSpPr>
            <p:spPr>
              <a:xfrm>
                <a:off x="1334066" y="283213"/>
                <a:ext cx="1371600" cy="137160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r>
                  <a:rPr lang="en-US" sz="4500" b="1">
                    <a:solidFill>
                      <a:srgbClr val="FFFFFF"/>
                    </a:solidFill>
                  </a:rPr>
                  <a:t>02</a:t>
                </a:r>
                <a:endParaRPr sz="1050"/>
              </a:p>
            </p:txBody>
          </p:sp>
        </p:grpSp>
      </p:grpSp>
      <p:sp>
        <p:nvSpPr>
          <p:cNvPr id="252" name="Google Shape;252;p28"/>
          <p:cNvSpPr/>
          <p:nvPr/>
        </p:nvSpPr>
        <p:spPr>
          <a:xfrm>
            <a:off x="5357102" y="860562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3" name="Google Shape;253;p28"/>
          <p:cNvSpPr/>
          <p:nvPr/>
        </p:nvSpPr>
        <p:spPr>
          <a:xfrm>
            <a:off x="5357102" y="1752352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" name="Google Shape;59;p14"/>
          <p:cNvSpPr txBox="1">
            <a:spLocks/>
          </p:cNvSpPr>
          <p:nvPr/>
        </p:nvSpPr>
        <p:spPr>
          <a:xfrm>
            <a:off x="1769336" y="85026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b="1" dirty="0" smtClean="0">
                <a:solidFill>
                  <a:schemeClr val="bg1"/>
                </a:solidFill>
              </a:rPr>
              <a:t>COURSE OUTLINE</a:t>
            </a:r>
            <a:endParaRPr lang="en-US" b="1" dirty="0">
              <a:solidFill>
                <a:schemeClr val="bg1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" y="3235273"/>
            <a:ext cx="5527496" cy="862441"/>
            <a:chOff x="1" y="3235273"/>
            <a:chExt cx="5527496" cy="862441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59" name="Google Shape;229;p28"/>
            <p:cNvSpPr/>
            <p:nvPr/>
          </p:nvSpPr>
          <p:spPr>
            <a:xfrm>
              <a:off x="1685928" y="3489664"/>
              <a:ext cx="3841569" cy="608050"/>
            </a:xfrm>
            <a:prstGeom prst="homePlate">
              <a:avLst>
                <a:gd name="adj" fmla="val 50000"/>
              </a:avLst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296466"/>
              <a:r>
                <a:rPr lang="en-US" sz="1350" b="1" dirty="0" smtClean="0">
                  <a:solidFill>
                    <a:srgbClr val="FFFFFF"/>
                  </a:solidFill>
                </a:rPr>
                <a:t>Tools Orientation</a:t>
              </a:r>
              <a:endParaRPr sz="135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230;p28"/>
            <p:cNvSpPr/>
            <p:nvPr/>
          </p:nvSpPr>
          <p:spPr>
            <a:xfrm>
              <a:off x="1" y="3489663"/>
              <a:ext cx="1069528" cy="608050"/>
            </a:xfrm>
            <a:prstGeom prst="rect">
              <a:avLst/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62" name="Google Shape;232;p28"/>
            <p:cNvGrpSpPr/>
            <p:nvPr/>
          </p:nvGrpSpPr>
          <p:grpSpPr>
            <a:xfrm>
              <a:off x="901526" y="3956981"/>
              <a:ext cx="952405" cy="140733"/>
              <a:chOff x="1333208" y="1624082"/>
              <a:chExt cx="1373307" cy="266132"/>
            </a:xfrm>
            <a:grpFill/>
          </p:grpSpPr>
          <p:sp>
            <p:nvSpPr>
              <p:cNvPr id="64" name="Google Shape;233;p28"/>
              <p:cNvSpPr/>
              <p:nvPr/>
            </p:nvSpPr>
            <p:spPr>
              <a:xfrm rot="10800000" flipH="1">
                <a:off x="2464266" y="1624082"/>
                <a:ext cx="242249" cy="266132"/>
              </a:xfrm>
              <a:prstGeom prst="rtTriangle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endParaRPr sz="4500" b="1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Google Shape;234;p28"/>
              <p:cNvSpPr/>
              <p:nvPr/>
            </p:nvSpPr>
            <p:spPr>
              <a:xfrm rot="10800000">
                <a:off x="1333208" y="1624082"/>
                <a:ext cx="242249" cy="266132"/>
              </a:xfrm>
              <a:prstGeom prst="rtTriangle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endParaRPr sz="4500" b="1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63" name="Google Shape;235;p28"/>
            <p:cNvSpPr/>
            <p:nvPr/>
          </p:nvSpPr>
          <p:spPr>
            <a:xfrm>
              <a:off x="902118" y="3235273"/>
              <a:ext cx="951221" cy="725317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r>
                <a:rPr lang="en-US" sz="4500" b="1" dirty="0" smtClean="0">
                  <a:solidFill>
                    <a:srgbClr val="FFFFFF"/>
                  </a:solidFill>
                </a:rPr>
                <a:t>04</a:t>
              </a:r>
              <a:endParaRPr sz="1050" dirty="0"/>
            </a:p>
          </p:txBody>
        </p:sp>
      </p:grpSp>
      <p:sp>
        <p:nvSpPr>
          <p:cNvPr id="67" name="Google Shape;237;p28"/>
          <p:cNvSpPr/>
          <p:nvPr/>
        </p:nvSpPr>
        <p:spPr>
          <a:xfrm>
            <a:off x="1685928" y="4363548"/>
            <a:ext cx="3841569" cy="608050"/>
          </a:xfrm>
          <a:prstGeom prst="homePlate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3500000" algn="br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296466"/>
            <a:r>
              <a:rPr lang="en-US" sz="1350" b="1" dirty="0" smtClean="0">
                <a:solidFill>
                  <a:srgbClr val="FFFFFF"/>
                </a:solidFill>
              </a:rPr>
              <a:t>Exam</a:t>
            </a:r>
            <a:endParaRPr sz="1350" b="1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" name="Google Shape;238;p28"/>
          <p:cNvSpPr/>
          <p:nvPr/>
        </p:nvSpPr>
        <p:spPr>
          <a:xfrm>
            <a:off x="1" y="4363547"/>
            <a:ext cx="1069528" cy="60805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3500000" algn="br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70" name="Google Shape;240;p28"/>
          <p:cNvGrpSpPr/>
          <p:nvPr/>
        </p:nvGrpSpPr>
        <p:grpSpPr>
          <a:xfrm>
            <a:off x="901526" y="4830865"/>
            <a:ext cx="952405" cy="140733"/>
            <a:chOff x="1333208" y="1624082"/>
            <a:chExt cx="1373307" cy="266132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72" name="Google Shape;241;p28"/>
            <p:cNvSpPr/>
            <p:nvPr/>
          </p:nvSpPr>
          <p:spPr>
            <a:xfrm rot="10800000" flipH="1">
              <a:off x="2464266" y="1624082"/>
              <a:ext cx="242249" cy="266132"/>
            </a:xfrm>
            <a:prstGeom prst="rtTriangle">
              <a:avLst/>
            </a:prstGeom>
            <a:grpFill/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4500" b="1">
                <a:solidFill>
                  <a:srgbClr val="FFFFFF"/>
                </a:solidFill>
              </a:endParaRPr>
            </a:p>
          </p:txBody>
        </p:sp>
        <p:sp>
          <p:nvSpPr>
            <p:cNvPr id="73" name="Google Shape;242;p28"/>
            <p:cNvSpPr/>
            <p:nvPr/>
          </p:nvSpPr>
          <p:spPr>
            <a:xfrm rot="10800000">
              <a:off x="1333208" y="1624082"/>
              <a:ext cx="242249" cy="266132"/>
            </a:xfrm>
            <a:prstGeom prst="rtTriangle">
              <a:avLst/>
            </a:prstGeom>
            <a:grpFill/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4500" b="1">
                <a:solidFill>
                  <a:srgbClr val="FFFFFF"/>
                </a:solidFill>
              </a:endParaRPr>
            </a:p>
          </p:txBody>
        </p:sp>
      </p:grpSp>
      <p:sp>
        <p:nvSpPr>
          <p:cNvPr id="71" name="Google Shape;243;p28"/>
          <p:cNvSpPr/>
          <p:nvPr/>
        </p:nvSpPr>
        <p:spPr>
          <a:xfrm>
            <a:off x="902118" y="4109157"/>
            <a:ext cx="951221" cy="72531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r>
              <a:rPr lang="en-US" sz="4500" b="1" dirty="0" smtClean="0">
                <a:solidFill>
                  <a:srgbClr val="FFFFFF"/>
                </a:solidFill>
              </a:rPr>
              <a:t>05</a:t>
            </a:r>
            <a:endParaRPr sz="1050" dirty="0"/>
          </a:p>
        </p:txBody>
      </p:sp>
      <p:sp>
        <p:nvSpPr>
          <p:cNvPr id="74" name="Google Shape;252;p28"/>
          <p:cNvSpPr/>
          <p:nvPr/>
        </p:nvSpPr>
        <p:spPr>
          <a:xfrm>
            <a:off x="5357102" y="3489662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" name="Google Shape;253;p28"/>
          <p:cNvSpPr/>
          <p:nvPr/>
        </p:nvSpPr>
        <p:spPr>
          <a:xfrm>
            <a:off x="5357102" y="4381452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46" name="Google Shape;244;p28"/>
          <p:cNvGrpSpPr/>
          <p:nvPr/>
        </p:nvGrpSpPr>
        <p:grpSpPr>
          <a:xfrm>
            <a:off x="1" y="2353939"/>
            <a:ext cx="5527496" cy="862442"/>
            <a:chOff x="1" y="4723842"/>
            <a:chExt cx="7970291" cy="1630908"/>
          </a:xfrm>
        </p:grpSpPr>
        <p:sp>
          <p:nvSpPr>
            <p:cNvPr id="47" name="Google Shape;245;p28"/>
            <p:cNvSpPr/>
            <p:nvPr/>
          </p:nvSpPr>
          <p:spPr>
            <a:xfrm>
              <a:off x="2430145" y="5204905"/>
              <a:ext cx="5540147" cy="1149845"/>
            </a:xfrm>
            <a:prstGeom prst="homePlate">
              <a:avLst>
                <a:gd name="adj" fmla="val 50000"/>
              </a:avLst>
            </a:prstGeom>
            <a:gradFill>
              <a:gsLst>
                <a:gs pos="0">
                  <a:srgbClr val="3F6614"/>
                </a:gs>
                <a:gs pos="50000">
                  <a:srgbClr val="5C941D"/>
                </a:gs>
                <a:gs pos="100000">
                  <a:srgbClr val="6EB223"/>
                </a:gs>
              </a:gsLst>
              <a:lin ang="0" scaled="0"/>
            </a:gradFill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296466"/>
              <a:r>
                <a:rPr lang="en-US" sz="1350" b="1" dirty="0" smtClean="0">
                  <a:solidFill>
                    <a:srgbClr val="FFFFFF"/>
                  </a:solidFill>
                </a:rPr>
                <a:t>Process Selection Phases</a:t>
              </a:r>
              <a:endParaRPr sz="135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246;p28"/>
            <p:cNvSpPr/>
            <p:nvPr/>
          </p:nvSpPr>
          <p:spPr>
            <a:xfrm>
              <a:off x="1" y="5204904"/>
              <a:ext cx="1541336" cy="1149845"/>
            </a:xfrm>
            <a:prstGeom prst="rect">
              <a:avLst/>
            </a:prstGeom>
            <a:gradFill>
              <a:gsLst>
                <a:gs pos="0">
                  <a:srgbClr val="3F6614"/>
                </a:gs>
                <a:gs pos="50000">
                  <a:srgbClr val="5C941D"/>
                </a:gs>
                <a:gs pos="100000">
                  <a:srgbClr val="6EB223"/>
                </a:gs>
              </a:gsLst>
              <a:lin ang="10800000" scaled="0"/>
            </a:gradFill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49" name="Google Shape;247;p28"/>
            <p:cNvGrpSpPr/>
            <p:nvPr/>
          </p:nvGrpSpPr>
          <p:grpSpPr>
            <a:xfrm>
              <a:off x="1299088" y="4723842"/>
              <a:ext cx="1373307" cy="1630907"/>
              <a:chOff x="1333213" y="283213"/>
              <a:chExt cx="1373307" cy="1630907"/>
            </a:xfrm>
          </p:grpSpPr>
          <p:grpSp>
            <p:nvGrpSpPr>
              <p:cNvPr id="50" name="Google Shape;248;p28"/>
              <p:cNvGrpSpPr/>
              <p:nvPr/>
            </p:nvGrpSpPr>
            <p:grpSpPr>
              <a:xfrm>
                <a:off x="1333213" y="1647988"/>
                <a:ext cx="1373307" cy="266132"/>
                <a:chOff x="1333208" y="1624082"/>
                <a:chExt cx="1373307" cy="266132"/>
              </a:xfrm>
            </p:grpSpPr>
            <p:sp>
              <p:nvSpPr>
                <p:cNvPr id="52" name="Google Shape;249;p28"/>
                <p:cNvSpPr/>
                <p:nvPr/>
              </p:nvSpPr>
              <p:spPr>
                <a:xfrm rot="10800000" flipH="1">
                  <a:off x="2464266" y="1624082"/>
                  <a:ext cx="242249" cy="266132"/>
                </a:xfrm>
                <a:prstGeom prst="rtTriangle">
                  <a:avLst/>
                </a:prstGeom>
                <a:solidFill>
                  <a:srgbClr val="527E21"/>
                </a:solidFill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53" name="Google Shape;250;p28"/>
                <p:cNvSpPr/>
                <p:nvPr/>
              </p:nvSpPr>
              <p:spPr>
                <a:xfrm rot="10800000">
                  <a:off x="1333208" y="1624082"/>
                  <a:ext cx="242249" cy="266132"/>
                </a:xfrm>
                <a:prstGeom prst="rtTriangle">
                  <a:avLst/>
                </a:prstGeom>
                <a:solidFill>
                  <a:srgbClr val="527E21"/>
                </a:solidFill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51" name="Google Shape;251;p28"/>
              <p:cNvSpPr/>
              <p:nvPr/>
            </p:nvSpPr>
            <p:spPr>
              <a:xfrm>
                <a:off x="1334066" y="283213"/>
                <a:ext cx="1371600" cy="13716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r>
                  <a:rPr lang="en-US" sz="4500" b="1" dirty="0">
                    <a:solidFill>
                      <a:srgbClr val="FFFFFF"/>
                    </a:solidFill>
                  </a:rPr>
                  <a:t>03</a:t>
                </a:r>
                <a:endParaRPr sz="1050" dirty="0"/>
              </a:p>
            </p:txBody>
          </p:sp>
        </p:grpSp>
      </p:grpSp>
      <p:sp>
        <p:nvSpPr>
          <p:cNvPr id="54" name="Google Shape;254;p28"/>
          <p:cNvSpPr/>
          <p:nvPr/>
        </p:nvSpPr>
        <p:spPr>
          <a:xfrm>
            <a:off x="5357102" y="2616174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accent6"/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13064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3000">
              <a:srgbClr val="003692"/>
            </a:gs>
            <a:gs pos="51000">
              <a:srgbClr val="006FB9"/>
            </a:gs>
            <a:gs pos="100000">
              <a:srgbClr val="0051A5"/>
            </a:gs>
          </a:gsLst>
          <a:path path="circle">
            <a:fillToRect r="100000" b="100000"/>
          </a:path>
          <a:tileRect l="-100000" t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36982803-9E9D-4E88-B89D-AE846D8FB630}"/>
              </a:ext>
            </a:extLst>
          </p:cNvPr>
          <p:cNvSpPr/>
          <p:nvPr/>
        </p:nvSpPr>
        <p:spPr>
          <a:xfrm flipV="1">
            <a:off x="8681" y="2617712"/>
            <a:ext cx="9549323" cy="34289"/>
          </a:xfrm>
          <a:prstGeom prst="rect">
            <a:avLst/>
          </a:prstGeom>
          <a:gradFill>
            <a:gsLst>
              <a:gs pos="3000">
                <a:schemeClr val="bg1"/>
              </a:gs>
              <a:gs pos="99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40">
              <a:buClrTx/>
            </a:pPr>
            <a:endParaRPr lang="en-US" sz="1800" kern="1200">
              <a:solidFill>
                <a:prstClr val="white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64E16148-AD47-4697-8565-75E344F1B208}"/>
              </a:ext>
            </a:extLst>
          </p:cNvPr>
          <p:cNvSpPr txBox="1"/>
          <p:nvPr/>
        </p:nvSpPr>
        <p:spPr>
          <a:xfrm>
            <a:off x="4171950" y="1773464"/>
            <a:ext cx="4914900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40">
              <a:buClrTx/>
            </a:pPr>
            <a:r>
              <a:rPr lang="en-US" sz="4950" b="1" kern="1200" dirty="0" smtClean="0">
                <a:solidFill>
                  <a:prstClr val="white">
                    <a:alpha val="49000"/>
                  </a:prst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CESS SELECTION</a:t>
            </a:r>
            <a:endParaRPr lang="en-US" sz="4950" b="1" kern="1200" dirty="0">
              <a:solidFill>
                <a:prstClr val="white">
                  <a:alpha val="49000"/>
                </a:prst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71E06802-AD2D-4BAD-97AA-A104B4379B83}"/>
              </a:ext>
            </a:extLst>
          </p:cNvPr>
          <p:cNvSpPr txBox="1"/>
          <p:nvPr/>
        </p:nvSpPr>
        <p:spPr>
          <a:xfrm>
            <a:off x="4229100" y="3315457"/>
            <a:ext cx="49149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40">
              <a:buClrTx/>
            </a:pPr>
            <a:r>
              <a:rPr lang="en-US" sz="2100" kern="1200" dirty="0" smtClean="0">
                <a:solidFill>
                  <a:prstClr val="white">
                    <a:alpha val="49000"/>
                  </a:prst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LECTING</a:t>
            </a:r>
            <a:endParaRPr lang="en-US" sz="2100" kern="1200" dirty="0">
              <a:solidFill>
                <a:prstClr val="white">
                  <a:alpha val="49000"/>
                </a:prst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073236" y="12468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DISCOVERY</a:t>
            </a:r>
            <a:endParaRPr lang="en-US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320145" y="122842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OLUTIONING</a:t>
            </a:r>
            <a:endParaRPr lang="en-US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567054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IMPLEMENTATION</a:t>
            </a:r>
            <a:endParaRPr lang="en-US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7813963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OPERATIONS</a:t>
            </a:r>
            <a:endParaRPr lang="en-US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826327" y="122842"/>
            <a:ext cx="1246909" cy="259773"/>
          </a:xfrm>
          <a:prstGeom prst="rect">
            <a:avLst/>
          </a:prstGeom>
          <a:solidFill>
            <a:srgbClr val="FF0000">
              <a:lumMod val="60000"/>
              <a:lumOff val="4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EATION</a:t>
            </a:r>
          </a:p>
        </p:txBody>
      </p:sp>
      <p:pic>
        <p:nvPicPr>
          <p:cNvPr id="19458" name="Picture 2" descr="https://image.shutterstock.com/z/stock-photo-an-arrow-hits-a-ball-marked-right-choice-in-a-pyramid-of-balls-marked-wrong-choice-to-symbolize-the-85234072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118"/>
          <a:stretch/>
        </p:blipFill>
        <p:spPr bwMode="auto">
          <a:xfrm>
            <a:off x="199942" y="750162"/>
            <a:ext cx="3885530" cy="3890993"/>
          </a:xfrm>
          <a:prstGeom prst="roundRect">
            <a:avLst>
              <a:gd name="adj" fmla="val 8594"/>
            </a:avLst>
          </a:prstGeom>
          <a:solidFill>
            <a:srgbClr val="0063B1"/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2312142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/>
          <p:cNvSpPr/>
          <p:nvPr/>
        </p:nvSpPr>
        <p:spPr>
          <a:xfrm>
            <a:off x="4073236" y="12468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DISCOVERY</a:t>
            </a:r>
            <a:endParaRPr lang="en-US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5320145" y="122842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OLUTIONING</a:t>
            </a:r>
            <a:endParaRPr lang="en-US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6567054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IMPLEMENTATION</a:t>
            </a:r>
            <a:endParaRPr lang="en-US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7813963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OPERATIONS</a:t>
            </a:r>
            <a:endParaRPr lang="en-US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2826327" y="122842"/>
            <a:ext cx="1246909" cy="259773"/>
          </a:xfrm>
          <a:prstGeom prst="rect">
            <a:avLst/>
          </a:prstGeom>
          <a:solidFill>
            <a:srgbClr val="FF0000">
              <a:lumMod val="60000"/>
              <a:lumOff val="4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EATION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2729" y="671844"/>
            <a:ext cx="4373961" cy="4166008"/>
          </a:xfrm>
          <a:prstGeom prst="roundRect">
            <a:avLst>
              <a:gd name="adj" fmla="val 8594"/>
            </a:avLst>
          </a:prstGeom>
          <a:solidFill>
            <a:srgbClr val="3F3F3F"/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3" name="TextBox 2"/>
          <p:cNvSpPr txBox="1"/>
          <p:nvPr/>
        </p:nvSpPr>
        <p:spPr>
          <a:xfrm>
            <a:off x="5378824" y="1467650"/>
            <a:ext cx="3265714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dirty="0" smtClean="0">
                <a:solidFill>
                  <a:schemeClr val="bg1"/>
                </a:solidFill>
              </a:rPr>
              <a:t>No changes in the process/system within the next 6 month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dirty="0" smtClean="0">
                <a:solidFill>
                  <a:schemeClr val="bg1"/>
                </a:solidFill>
              </a:rPr>
              <a:t>No human improvisation involv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dirty="0" smtClean="0">
                <a:solidFill>
                  <a:schemeClr val="bg1"/>
                </a:solidFill>
              </a:rPr>
              <a:t>Process has existed at least 1 ye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dirty="0" smtClean="0">
                <a:solidFill>
                  <a:schemeClr val="bg1"/>
                </a:solidFill>
              </a:rPr>
              <a:t>FTE saved should justify the license co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PH" dirty="0"/>
          </a:p>
        </p:txBody>
      </p:sp>
    </p:spTree>
    <p:extLst>
      <p:ext uri="{BB962C8B-B14F-4D97-AF65-F5344CB8AC3E}">
        <p14:creationId xmlns:p14="http://schemas.microsoft.com/office/powerpoint/2010/main" val="2628929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14"/>
          <p:cNvSpPr txBox="1">
            <a:spLocks noGrp="1"/>
          </p:cNvSpPr>
          <p:nvPr>
            <p:ph type="title"/>
          </p:nvPr>
        </p:nvSpPr>
        <p:spPr>
          <a:xfrm>
            <a:off x="311700" y="311463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 smtClean="0"/>
              <a:t>HOUSE RULES</a:t>
            </a:r>
            <a:endParaRPr b="1" dirty="0"/>
          </a:p>
        </p:txBody>
      </p:sp>
      <p:sp>
        <p:nvSpPr>
          <p:cNvPr id="60" name="Google Shape;60;p1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endParaRPr/>
          </a:p>
        </p:txBody>
      </p:sp>
      <p:sp>
        <p:nvSpPr>
          <p:cNvPr id="42" name="Google Shape;52;p7"/>
          <p:cNvSpPr/>
          <p:nvPr/>
        </p:nvSpPr>
        <p:spPr>
          <a:xfrm>
            <a:off x="0" y="1138335"/>
            <a:ext cx="9144000" cy="2663016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28575" tIns="28575" rIns="28575" bIns="28575" anchor="ctr" anchorCtr="0">
            <a:noAutofit/>
          </a:bodyPr>
          <a:lstStyle/>
          <a:p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" name="Google Shape;53;p7"/>
          <p:cNvSpPr/>
          <p:nvPr/>
        </p:nvSpPr>
        <p:spPr>
          <a:xfrm>
            <a:off x="1660958" y="875897"/>
            <a:ext cx="1273884" cy="3692978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21600" y="3129"/>
                </a:moveTo>
                <a:lnTo>
                  <a:pt x="21600" y="17875"/>
                </a:lnTo>
                <a:cubicBezTo>
                  <a:pt x="21600" y="19932"/>
                  <a:pt x="16765" y="21600"/>
                  <a:pt x="10800" y="21600"/>
                </a:cubicBezTo>
                <a:lnTo>
                  <a:pt x="10800" y="21600"/>
                </a:lnTo>
                <a:cubicBezTo>
                  <a:pt x="4835" y="21600"/>
                  <a:pt x="0" y="19932"/>
                  <a:pt x="0" y="17875"/>
                </a:cubicBezTo>
                <a:lnTo>
                  <a:pt x="0" y="11771"/>
                </a:lnTo>
                <a:cubicBezTo>
                  <a:pt x="0" y="10985"/>
                  <a:pt x="327" y="10210"/>
                  <a:pt x="955" y="9469"/>
                </a:cubicBezTo>
                <a:cubicBezTo>
                  <a:pt x="2448" y="7709"/>
                  <a:pt x="6318" y="6323"/>
                  <a:pt x="11244" y="5633"/>
                </a:cubicBezTo>
                <a:cubicBezTo>
                  <a:pt x="13335" y="5340"/>
                  <a:pt x="15579" y="4795"/>
                  <a:pt x="16409" y="3783"/>
                </a:cubicBezTo>
                <a:cubicBezTo>
                  <a:pt x="17270" y="2734"/>
                  <a:pt x="15012" y="1671"/>
                  <a:pt x="11853" y="1642"/>
                </a:cubicBezTo>
                <a:cubicBezTo>
                  <a:pt x="11767" y="1641"/>
                  <a:pt x="11680" y="1640"/>
                  <a:pt x="11592" y="1640"/>
                </a:cubicBezTo>
                <a:cubicBezTo>
                  <a:pt x="6637" y="1640"/>
                  <a:pt x="2080" y="1640"/>
                  <a:pt x="2080" y="1640"/>
                </a:cubicBezTo>
                <a:cubicBezTo>
                  <a:pt x="2080" y="1640"/>
                  <a:pt x="3962" y="0"/>
                  <a:pt x="12385" y="0"/>
                </a:cubicBezTo>
                <a:cubicBezTo>
                  <a:pt x="12517" y="0"/>
                  <a:pt x="12646" y="1"/>
                  <a:pt x="12774" y="1"/>
                </a:cubicBezTo>
                <a:cubicBezTo>
                  <a:pt x="17688" y="32"/>
                  <a:pt x="21600" y="1434"/>
                  <a:pt x="21600" y="3129"/>
                </a:cubicBezTo>
                <a:close/>
              </a:path>
            </a:pathLst>
          </a:custGeom>
          <a:solidFill>
            <a:srgbClr val="4CC1EF"/>
          </a:solidFill>
          <a:ln>
            <a:noFill/>
          </a:ln>
        </p:spPr>
        <p:txBody>
          <a:bodyPr spcFirstLastPara="1" wrap="square" lIns="28575" tIns="594000" rIns="28575" bIns="28575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Close all laptops unless needed for</a:t>
            </a:r>
            <a:r>
              <a:rPr kumimoji="0" lang="en-US" sz="1300" b="1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 discussion.</a:t>
            </a:r>
            <a:endParaRPr kumimoji="0" sz="13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" name="Google Shape;54;p7"/>
          <p:cNvSpPr/>
          <p:nvPr/>
        </p:nvSpPr>
        <p:spPr>
          <a:xfrm>
            <a:off x="1849404" y="3472236"/>
            <a:ext cx="906626" cy="906626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28575" tIns="28575" rIns="28575" bIns="28575" anchor="ctr" anchorCtr="0">
            <a:noAutofit/>
          </a:bodyPr>
          <a:lstStyle/>
          <a:p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" name="Google Shape;55;p7"/>
          <p:cNvSpPr/>
          <p:nvPr/>
        </p:nvSpPr>
        <p:spPr>
          <a:xfrm>
            <a:off x="3898050" y="859507"/>
            <a:ext cx="1273884" cy="3692978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21600" y="3129"/>
                </a:moveTo>
                <a:lnTo>
                  <a:pt x="21600" y="17875"/>
                </a:lnTo>
                <a:cubicBezTo>
                  <a:pt x="21600" y="19932"/>
                  <a:pt x="16765" y="21600"/>
                  <a:pt x="10800" y="21600"/>
                </a:cubicBezTo>
                <a:lnTo>
                  <a:pt x="10800" y="21600"/>
                </a:lnTo>
                <a:cubicBezTo>
                  <a:pt x="4835" y="21600"/>
                  <a:pt x="0" y="19932"/>
                  <a:pt x="0" y="17875"/>
                </a:cubicBezTo>
                <a:lnTo>
                  <a:pt x="0" y="11771"/>
                </a:lnTo>
                <a:cubicBezTo>
                  <a:pt x="0" y="10985"/>
                  <a:pt x="327" y="10210"/>
                  <a:pt x="955" y="9469"/>
                </a:cubicBezTo>
                <a:cubicBezTo>
                  <a:pt x="2448" y="7709"/>
                  <a:pt x="6318" y="6323"/>
                  <a:pt x="11244" y="5633"/>
                </a:cubicBezTo>
                <a:cubicBezTo>
                  <a:pt x="13335" y="5340"/>
                  <a:pt x="15579" y="4795"/>
                  <a:pt x="16409" y="3783"/>
                </a:cubicBezTo>
                <a:cubicBezTo>
                  <a:pt x="17272" y="2734"/>
                  <a:pt x="15012" y="1671"/>
                  <a:pt x="11853" y="1642"/>
                </a:cubicBezTo>
                <a:cubicBezTo>
                  <a:pt x="11767" y="1641"/>
                  <a:pt x="11680" y="1640"/>
                  <a:pt x="11592" y="1640"/>
                </a:cubicBezTo>
                <a:cubicBezTo>
                  <a:pt x="6637" y="1640"/>
                  <a:pt x="2080" y="1640"/>
                  <a:pt x="2080" y="1640"/>
                </a:cubicBezTo>
                <a:cubicBezTo>
                  <a:pt x="2080" y="1640"/>
                  <a:pt x="3962" y="0"/>
                  <a:pt x="12385" y="0"/>
                </a:cubicBezTo>
                <a:cubicBezTo>
                  <a:pt x="12517" y="0"/>
                  <a:pt x="12646" y="1"/>
                  <a:pt x="12774" y="1"/>
                </a:cubicBezTo>
                <a:cubicBezTo>
                  <a:pt x="17688" y="32"/>
                  <a:pt x="21600" y="1434"/>
                  <a:pt x="21600" y="3129"/>
                </a:cubicBezTo>
                <a:close/>
              </a:path>
            </a:pathLst>
          </a:custGeom>
          <a:solidFill>
            <a:srgbClr val="F7931F"/>
          </a:solidFill>
          <a:ln>
            <a:noFill/>
          </a:ln>
        </p:spPr>
        <p:txBody>
          <a:bodyPr spcFirstLastPara="1" wrap="square" lIns="28575" tIns="594000" rIns="28575" bIns="28575" anchor="ctr" anchorCtr="0">
            <a:noAutofit/>
          </a:bodyPr>
          <a:lstStyle/>
          <a:p>
            <a:pPr algn="ctr">
              <a:buClrTx/>
            </a:pPr>
            <a:r>
              <a:rPr lang="en-US" sz="1200" b="1" dirty="0" smtClean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No use of cellphones during the discussion unless there is an emergency.</a:t>
            </a:r>
            <a:endParaRPr lang="en-US" sz="1200" b="1" dirty="0">
              <a:solidFill>
                <a:schemeClr val="tx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" name="Google Shape;56;p7"/>
          <p:cNvSpPr/>
          <p:nvPr/>
        </p:nvSpPr>
        <p:spPr>
          <a:xfrm>
            <a:off x="4102199" y="3455846"/>
            <a:ext cx="906626" cy="906626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28575" tIns="28575" rIns="28575" bIns="28575" anchor="ctr" anchorCtr="0">
            <a:noAutofit/>
          </a:bodyPr>
          <a:lstStyle/>
          <a:p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" name="Google Shape;57;p7"/>
          <p:cNvSpPr/>
          <p:nvPr/>
        </p:nvSpPr>
        <p:spPr>
          <a:xfrm>
            <a:off x="6090728" y="867210"/>
            <a:ext cx="1273884" cy="3692978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21600" y="3129"/>
                </a:moveTo>
                <a:lnTo>
                  <a:pt x="21600" y="17875"/>
                </a:lnTo>
                <a:cubicBezTo>
                  <a:pt x="21600" y="19932"/>
                  <a:pt x="16765" y="21600"/>
                  <a:pt x="10800" y="21600"/>
                </a:cubicBezTo>
                <a:lnTo>
                  <a:pt x="10800" y="21600"/>
                </a:lnTo>
                <a:cubicBezTo>
                  <a:pt x="4835" y="21600"/>
                  <a:pt x="0" y="19932"/>
                  <a:pt x="0" y="17875"/>
                </a:cubicBezTo>
                <a:lnTo>
                  <a:pt x="0" y="11771"/>
                </a:lnTo>
                <a:cubicBezTo>
                  <a:pt x="0" y="10985"/>
                  <a:pt x="327" y="10210"/>
                  <a:pt x="955" y="9469"/>
                </a:cubicBezTo>
                <a:cubicBezTo>
                  <a:pt x="2448" y="7709"/>
                  <a:pt x="6318" y="6323"/>
                  <a:pt x="11244" y="5633"/>
                </a:cubicBezTo>
                <a:cubicBezTo>
                  <a:pt x="13335" y="5340"/>
                  <a:pt x="15579" y="4795"/>
                  <a:pt x="16409" y="3783"/>
                </a:cubicBezTo>
                <a:cubicBezTo>
                  <a:pt x="17272" y="2734"/>
                  <a:pt x="15012" y="1671"/>
                  <a:pt x="11853" y="1642"/>
                </a:cubicBezTo>
                <a:cubicBezTo>
                  <a:pt x="11767" y="1641"/>
                  <a:pt x="11680" y="1640"/>
                  <a:pt x="11592" y="1640"/>
                </a:cubicBezTo>
                <a:cubicBezTo>
                  <a:pt x="6637" y="1640"/>
                  <a:pt x="2080" y="1640"/>
                  <a:pt x="2080" y="1640"/>
                </a:cubicBezTo>
                <a:cubicBezTo>
                  <a:pt x="2080" y="1640"/>
                  <a:pt x="3962" y="0"/>
                  <a:pt x="12385" y="0"/>
                </a:cubicBezTo>
                <a:cubicBezTo>
                  <a:pt x="12517" y="0"/>
                  <a:pt x="12646" y="1"/>
                  <a:pt x="12774" y="1"/>
                </a:cubicBezTo>
                <a:cubicBezTo>
                  <a:pt x="17688" y="32"/>
                  <a:pt x="21600" y="1434"/>
                  <a:pt x="21600" y="3129"/>
                </a:cubicBezTo>
                <a:close/>
              </a:path>
            </a:pathLst>
          </a:custGeom>
          <a:solidFill>
            <a:srgbClr val="A2B969"/>
          </a:solidFill>
          <a:ln>
            <a:noFill/>
          </a:ln>
        </p:spPr>
        <p:txBody>
          <a:bodyPr spcFirstLastPara="1" wrap="square" lIns="28575" tIns="594000" rIns="28575" bIns="28575" anchor="ctr" anchorCtr="0">
            <a:noAutofit/>
          </a:bodyPr>
          <a:lstStyle/>
          <a:p>
            <a:pPr algn="ctr">
              <a:buClrTx/>
            </a:pPr>
            <a:r>
              <a:rPr lang="en-US" sz="1200" b="1" dirty="0" smtClean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Questions can be raised during the lecture.</a:t>
            </a:r>
            <a:endParaRPr lang="en-US" sz="1200" b="1" dirty="0">
              <a:solidFill>
                <a:schemeClr val="tx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" name="Google Shape;58;p7"/>
          <p:cNvSpPr/>
          <p:nvPr/>
        </p:nvSpPr>
        <p:spPr>
          <a:xfrm>
            <a:off x="6268703" y="3463549"/>
            <a:ext cx="906626" cy="906626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28575" tIns="28575" rIns="28575" bIns="28575" anchor="ctr" anchorCtr="0">
            <a:noAutofit/>
          </a:bodyPr>
          <a:lstStyle/>
          <a:p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" name="Google Shape;59;p7"/>
          <p:cNvSpPr txBox="1"/>
          <p:nvPr/>
        </p:nvSpPr>
        <p:spPr>
          <a:xfrm>
            <a:off x="2355602" y="2048023"/>
            <a:ext cx="528030" cy="5309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01</a:t>
            </a:r>
            <a:endParaRPr kumimoji="0" sz="105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0" name="Google Shape;60;p7"/>
          <p:cNvSpPr txBox="1"/>
          <p:nvPr/>
        </p:nvSpPr>
        <p:spPr>
          <a:xfrm>
            <a:off x="4583625" y="2031633"/>
            <a:ext cx="528030" cy="5309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02</a:t>
            </a:r>
            <a:endParaRPr kumimoji="0" sz="105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1" name="Google Shape;61;p7"/>
          <p:cNvSpPr txBox="1"/>
          <p:nvPr/>
        </p:nvSpPr>
        <p:spPr>
          <a:xfrm>
            <a:off x="6767234" y="2039336"/>
            <a:ext cx="528030" cy="5309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03</a:t>
            </a:r>
            <a:endParaRPr kumimoji="0" sz="105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5" name="Google Shape;65;p7"/>
          <p:cNvSpPr/>
          <p:nvPr/>
        </p:nvSpPr>
        <p:spPr>
          <a:xfrm>
            <a:off x="2110222" y="3614595"/>
            <a:ext cx="384988" cy="621905"/>
          </a:xfrm>
          <a:custGeom>
            <a:avLst/>
            <a:gdLst/>
            <a:ahLst/>
            <a:cxnLst/>
            <a:rect l="l" t="t" r="r" b="b"/>
            <a:pathLst>
              <a:path w="513317" h="829206" extrusionOk="0">
                <a:moveTo>
                  <a:pt x="192494" y="769976"/>
                </a:moveTo>
                <a:lnTo>
                  <a:pt x="320823" y="769976"/>
                </a:lnTo>
                <a:cubicBezTo>
                  <a:pt x="317862" y="803540"/>
                  <a:pt x="290222" y="829206"/>
                  <a:pt x="256659" y="829206"/>
                </a:cubicBezTo>
                <a:cubicBezTo>
                  <a:pt x="223096" y="829206"/>
                  <a:pt x="195455" y="803540"/>
                  <a:pt x="192494" y="769976"/>
                </a:cubicBezTo>
                <a:close/>
                <a:moveTo>
                  <a:pt x="157943" y="671261"/>
                </a:moveTo>
                <a:lnTo>
                  <a:pt x="355374" y="671261"/>
                </a:lnTo>
                <a:cubicBezTo>
                  <a:pt x="372156" y="671261"/>
                  <a:pt x="384989" y="684094"/>
                  <a:pt x="384989" y="700876"/>
                </a:cubicBezTo>
                <a:cubicBezTo>
                  <a:pt x="384989" y="717658"/>
                  <a:pt x="372156" y="730491"/>
                  <a:pt x="355374" y="730491"/>
                </a:cubicBezTo>
                <a:lnTo>
                  <a:pt x="157943" y="730491"/>
                </a:lnTo>
                <a:cubicBezTo>
                  <a:pt x="141162" y="730491"/>
                  <a:pt x="128329" y="717658"/>
                  <a:pt x="128329" y="700876"/>
                </a:cubicBezTo>
                <a:cubicBezTo>
                  <a:pt x="128329" y="684094"/>
                  <a:pt x="141162" y="671261"/>
                  <a:pt x="157943" y="671261"/>
                </a:cubicBezTo>
                <a:close/>
                <a:moveTo>
                  <a:pt x="157943" y="572546"/>
                </a:moveTo>
                <a:lnTo>
                  <a:pt x="355374" y="572546"/>
                </a:lnTo>
                <a:cubicBezTo>
                  <a:pt x="372156" y="572546"/>
                  <a:pt x="384989" y="585379"/>
                  <a:pt x="384989" y="602161"/>
                </a:cubicBezTo>
                <a:cubicBezTo>
                  <a:pt x="384989" y="618943"/>
                  <a:pt x="372156" y="631776"/>
                  <a:pt x="355374" y="631776"/>
                </a:cubicBezTo>
                <a:lnTo>
                  <a:pt x="157943" y="631776"/>
                </a:lnTo>
                <a:cubicBezTo>
                  <a:pt x="141162" y="631776"/>
                  <a:pt x="128329" y="618943"/>
                  <a:pt x="128329" y="602161"/>
                </a:cubicBezTo>
                <a:cubicBezTo>
                  <a:pt x="128329" y="585379"/>
                  <a:pt x="141162" y="572546"/>
                  <a:pt x="157943" y="572546"/>
                </a:cubicBezTo>
                <a:close/>
                <a:moveTo>
                  <a:pt x="257646" y="58242"/>
                </a:moveTo>
                <a:cubicBezTo>
                  <a:pt x="150047" y="59229"/>
                  <a:pt x="62190" y="146098"/>
                  <a:pt x="60216" y="253697"/>
                </a:cubicBezTo>
                <a:lnTo>
                  <a:pt x="60216" y="261594"/>
                </a:lnTo>
                <a:cubicBezTo>
                  <a:pt x="61203" y="285286"/>
                  <a:pt x="65152" y="308978"/>
                  <a:pt x="74036" y="330695"/>
                </a:cubicBezTo>
                <a:cubicBezTo>
                  <a:pt x="81933" y="350438"/>
                  <a:pt x="93779" y="369194"/>
                  <a:pt x="107599" y="384988"/>
                </a:cubicBezTo>
                <a:cubicBezTo>
                  <a:pt x="129317" y="412628"/>
                  <a:pt x="149059" y="442243"/>
                  <a:pt x="164854" y="473832"/>
                </a:cubicBezTo>
                <a:lnTo>
                  <a:pt x="256659" y="473832"/>
                </a:lnTo>
                <a:lnTo>
                  <a:pt x="349451" y="473832"/>
                </a:lnTo>
                <a:cubicBezTo>
                  <a:pt x="364258" y="442243"/>
                  <a:pt x="384001" y="412628"/>
                  <a:pt x="406705" y="384988"/>
                </a:cubicBezTo>
                <a:cubicBezTo>
                  <a:pt x="421513" y="369194"/>
                  <a:pt x="432371" y="350438"/>
                  <a:pt x="440268" y="330695"/>
                </a:cubicBezTo>
                <a:cubicBezTo>
                  <a:pt x="448166" y="308978"/>
                  <a:pt x="453101" y="285286"/>
                  <a:pt x="454089" y="261594"/>
                </a:cubicBezTo>
                <a:lnTo>
                  <a:pt x="455076" y="261594"/>
                </a:lnTo>
                <a:lnTo>
                  <a:pt x="455076" y="253697"/>
                </a:lnTo>
                <a:cubicBezTo>
                  <a:pt x="453101" y="145111"/>
                  <a:pt x="365245" y="59229"/>
                  <a:pt x="257646" y="58242"/>
                </a:cubicBezTo>
                <a:close/>
                <a:moveTo>
                  <a:pt x="256659" y="0"/>
                </a:moveTo>
                <a:cubicBezTo>
                  <a:pt x="396834" y="987"/>
                  <a:pt x="510356" y="113522"/>
                  <a:pt x="513317" y="253697"/>
                </a:cubicBezTo>
                <a:lnTo>
                  <a:pt x="513317" y="262582"/>
                </a:lnTo>
                <a:cubicBezTo>
                  <a:pt x="512330" y="293183"/>
                  <a:pt x="506407" y="322798"/>
                  <a:pt x="495549" y="351425"/>
                </a:cubicBezTo>
                <a:cubicBezTo>
                  <a:pt x="485677" y="378078"/>
                  <a:pt x="469883" y="402757"/>
                  <a:pt x="451127" y="424474"/>
                </a:cubicBezTo>
                <a:cubicBezTo>
                  <a:pt x="427436" y="450140"/>
                  <a:pt x="401770" y="500485"/>
                  <a:pt x="390911" y="522202"/>
                </a:cubicBezTo>
                <a:cubicBezTo>
                  <a:pt x="387950" y="529112"/>
                  <a:pt x="381039" y="533060"/>
                  <a:pt x="373142" y="533060"/>
                </a:cubicBezTo>
                <a:lnTo>
                  <a:pt x="140175" y="533060"/>
                </a:lnTo>
                <a:cubicBezTo>
                  <a:pt x="132278" y="533060"/>
                  <a:pt x="125368" y="529112"/>
                  <a:pt x="122406" y="522202"/>
                </a:cubicBezTo>
                <a:cubicBezTo>
                  <a:pt x="111548" y="500485"/>
                  <a:pt x="85882" y="450140"/>
                  <a:pt x="62190" y="424474"/>
                </a:cubicBezTo>
                <a:cubicBezTo>
                  <a:pt x="43435" y="402757"/>
                  <a:pt x="28627" y="378078"/>
                  <a:pt x="17769" y="351425"/>
                </a:cubicBezTo>
                <a:cubicBezTo>
                  <a:pt x="6910" y="322798"/>
                  <a:pt x="987" y="293183"/>
                  <a:pt x="0" y="262582"/>
                </a:cubicBezTo>
                <a:lnTo>
                  <a:pt x="0" y="253697"/>
                </a:lnTo>
                <a:cubicBezTo>
                  <a:pt x="2961" y="113522"/>
                  <a:pt x="116484" y="987"/>
                  <a:pt x="256659" y="0"/>
                </a:cubicBezTo>
                <a:close/>
              </a:path>
            </a:pathLst>
          </a:custGeom>
          <a:solidFill>
            <a:srgbClr val="1C2E42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" name="Google Shape;66;p7"/>
          <p:cNvSpPr/>
          <p:nvPr/>
        </p:nvSpPr>
        <p:spPr>
          <a:xfrm>
            <a:off x="4306605" y="3659936"/>
            <a:ext cx="498446" cy="498446"/>
          </a:xfrm>
          <a:custGeom>
            <a:avLst/>
            <a:gdLst/>
            <a:ahLst/>
            <a:cxnLst/>
            <a:rect l="l" t="t" r="r" b="b"/>
            <a:pathLst>
              <a:path w="664595" h="664595" extrusionOk="0">
                <a:moveTo>
                  <a:pt x="319679" y="143014"/>
                </a:moveTo>
                <a:cubicBezTo>
                  <a:pt x="354171" y="143014"/>
                  <a:pt x="386139" y="151427"/>
                  <a:pt x="414742" y="166569"/>
                </a:cubicBezTo>
                <a:lnTo>
                  <a:pt x="376885" y="204426"/>
                </a:lnTo>
                <a:cubicBezTo>
                  <a:pt x="359218" y="197696"/>
                  <a:pt x="339869" y="193490"/>
                  <a:pt x="319679" y="193490"/>
                </a:cubicBezTo>
                <a:cubicBezTo>
                  <a:pt x="236395" y="193490"/>
                  <a:pt x="168252" y="261633"/>
                  <a:pt x="168252" y="344917"/>
                </a:cubicBezTo>
                <a:cubicBezTo>
                  <a:pt x="168252" y="428202"/>
                  <a:pt x="236395" y="496344"/>
                  <a:pt x="319679" y="496344"/>
                </a:cubicBezTo>
                <a:cubicBezTo>
                  <a:pt x="402964" y="496344"/>
                  <a:pt x="471106" y="428202"/>
                  <a:pt x="471106" y="344917"/>
                </a:cubicBezTo>
                <a:cubicBezTo>
                  <a:pt x="471106" y="324727"/>
                  <a:pt x="467741" y="305378"/>
                  <a:pt x="460170" y="287712"/>
                </a:cubicBezTo>
                <a:lnTo>
                  <a:pt x="498026" y="249855"/>
                </a:lnTo>
                <a:cubicBezTo>
                  <a:pt x="513169" y="278458"/>
                  <a:pt x="521582" y="310426"/>
                  <a:pt x="521582" y="344917"/>
                </a:cubicBezTo>
                <a:cubicBezTo>
                  <a:pt x="521582" y="455964"/>
                  <a:pt x="430726" y="546820"/>
                  <a:pt x="319679" y="546820"/>
                </a:cubicBezTo>
                <a:cubicBezTo>
                  <a:pt x="208632" y="546820"/>
                  <a:pt x="117776" y="455964"/>
                  <a:pt x="117776" y="344917"/>
                </a:cubicBezTo>
                <a:cubicBezTo>
                  <a:pt x="117776" y="233870"/>
                  <a:pt x="208632" y="143014"/>
                  <a:pt x="319679" y="143014"/>
                </a:cubicBezTo>
                <a:close/>
                <a:moveTo>
                  <a:pt x="319679" y="25238"/>
                </a:moveTo>
                <a:cubicBezTo>
                  <a:pt x="374360" y="25238"/>
                  <a:pt x="424836" y="38698"/>
                  <a:pt x="470264" y="62253"/>
                </a:cubicBezTo>
                <a:lnTo>
                  <a:pt x="464375" y="68142"/>
                </a:lnTo>
                <a:lnTo>
                  <a:pt x="452598" y="79920"/>
                </a:lnTo>
                <a:lnTo>
                  <a:pt x="455121" y="96745"/>
                </a:lnTo>
                <a:lnTo>
                  <a:pt x="456804" y="113570"/>
                </a:lnTo>
                <a:cubicBezTo>
                  <a:pt x="416423" y="89174"/>
                  <a:pt x="369313" y="75714"/>
                  <a:pt x="319679" y="75714"/>
                </a:cubicBezTo>
                <a:cubicBezTo>
                  <a:pt x="171617" y="75714"/>
                  <a:pt x="50476" y="196855"/>
                  <a:pt x="50476" y="344917"/>
                </a:cubicBezTo>
                <a:cubicBezTo>
                  <a:pt x="50476" y="492978"/>
                  <a:pt x="171617" y="614120"/>
                  <a:pt x="319679" y="614120"/>
                </a:cubicBezTo>
                <a:cubicBezTo>
                  <a:pt x="467740" y="614120"/>
                  <a:pt x="588882" y="492978"/>
                  <a:pt x="588882" y="344917"/>
                </a:cubicBezTo>
                <a:cubicBezTo>
                  <a:pt x="588882" y="294441"/>
                  <a:pt x="574580" y="248172"/>
                  <a:pt x="551025" y="207791"/>
                </a:cubicBezTo>
                <a:lnTo>
                  <a:pt x="568691" y="210315"/>
                </a:lnTo>
                <a:lnTo>
                  <a:pt x="584675" y="211998"/>
                </a:lnTo>
                <a:lnTo>
                  <a:pt x="595612" y="200220"/>
                </a:lnTo>
                <a:lnTo>
                  <a:pt x="601500" y="195172"/>
                </a:lnTo>
                <a:cubicBezTo>
                  <a:pt x="625897" y="239759"/>
                  <a:pt x="639357" y="290235"/>
                  <a:pt x="639357" y="344917"/>
                </a:cubicBezTo>
                <a:cubicBezTo>
                  <a:pt x="639357" y="521581"/>
                  <a:pt x="496343" y="664595"/>
                  <a:pt x="319679" y="664595"/>
                </a:cubicBezTo>
                <a:cubicBezTo>
                  <a:pt x="143014" y="664595"/>
                  <a:pt x="0" y="521581"/>
                  <a:pt x="0" y="344917"/>
                </a:cubicBezTo>
                <a:cubicBezTo>
                  <a:pt x="0" y="168252"/>
                  <a:pt x="143014" y="25238"/>
                  <a:pt x="319679" y="25238"/>
                </a:cubicBezTo>
                <a:close/>
                <a:moveTo>
                  <a:pt x="580469" y="0"/>
                </a:moveTo>
                <a:lnTo>
                  <a:pt x="588881" y="75713"/>
                </a:lnTo>
                <a:lnTo>
                  <a:pt x="664595" y="84126"/>
                </a:lnTo>
                <a:lnTo>
                  <a:pt x="572056" y="176664"/>
                </a:lnTo>
                <a:lnTo>
                  <a:pt x="528311" y="171617"/>
                </a:lnTo>
                <a:lnTo>
                  <a:pt x="393709" y="306218"/>
                </a:lnTo>
                <a:cubicBezTo>
                  <a:pt x="399598" y="317996"/>
                  <a:pt x="402963" y="330615"/>
                  <a:pt x="402963" y="344916"/>
                </a:cubicBezTo>
                <a:cubicBezTo>
                  <a:pt x="402963" y="391186"/>
                  <a:pt x="365106" y="429042"/>
                  <a:pt x="318837" y="429042"/>
                </a:cubicBezTo>
                <a:cubicBezTo>
                  <a:pt x="272568" y="429042"/>
                  <a:pt x="234711" y="391186"/>
                  <a:pt x="234711" y="344916"/>
                </a:cubicBezTo>
                <a:cubicBezTo>
                  <a:pt x="234711" y="298647"/>
                  <a:pt x="272568" y="260790"/>
                  <a:pt x="318837" y="260790"/>
                </a:cubicBezTo>
                <a:cubicBezTo>
                  <a:pt x="333138" y="260790"/>
                  <a:pt x="346598" y="264997"/>
                  <a:pt x="358376" y="270886"/>
                </a:cubicBezTo>
                <a:lnTo>
                  <a:pt x="492978" y="136284"/>
                </a:lnTo>
                <a:lnTo>
                  <a:pt x="487930" y="92539"/>
                </a:lnTo>
                <a:close/>
              </a:path>
            </a:pathLst>
          </a:custGeom>
          <a:solidFill>
            <a:srgbClr val="1C2E42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" name="Google Shape;68;p7"/>
          <p:cNvSpPr/>
          <p:nvPr/>
        </p:nvSpPr>
        <p:spPr>
          <a:xfrm>
            <a:off x="1581871" y="1153898"/>
            <a:ext cx="1066283" cy="3412409"/>
          </a:xfrm>
          <a:custGeom>
            <a:avLst/>
            <a:gdLst/>
            <a:ahLst/>
            <a:cxnLst/>
            <a:rect l="l" t="t" r="r" b="b"/>
            <a:pathLst>
              <a:path w="20821" h="21600" extrusionOk="0">
                <a:moveTo>
                  <a:pt x="1711" y="17568"/>
                </a:moveTo>
                <a:lnTo>
                  <a:pt x="1711" y="10963"/>
                </a:lnTo>
                <a:cubicBezTo>
                  <a:pt x="1711" y="10112"/>
                  <a:pt x="2087" y="9274"/>
                  <a:pt x="2811" y="8472"/>
                </a:cubicBezTo>
                <a:cubicBezTo>
                  <a:pt x="4530" y="6566"/>
                  <a:pt x="8987" y="5067"/>
                  <a:pt x="14660" y="4320"/>
                </a:cubicBezTo>
                <a:cubicBezTo>
                  <a:pt x="17068" y="4003"/>
                  <a:pt x="19652" y="3413"/>
                  <a:pt x="20608" y="2319"/>
                </a:cubicBezTo>
                <a:cubicBezTo>
                  <a:pt x="21600" y="1184"/>
                  <a:pt x="19000" y="33"/>
                  <a:pt x="15361" y="1"/>
                </a:cubicBezTo>
                <a:cubicBezTo>
                  <a:pt x="15263" y="1"/>
                  <a:pt x="15163" y="0"/>
                  <a:pt x="15060" y="0"/>
                </a:cubicBezTo>
                <a:cubicBezTo>
                  <a:pt x="14484" y="0"/>
                  <a:pt x="13911" y="0"/>
                  <a:pt x="13349" y="0"/>
                </a:cubicBezTo>
                <a:cubicBezTo>
                  <a:pt x="13451" y="0"/>
                  <a:pt x="13552" y="1"/>
                  <a:pt x="13650" y="1"/>
                </a:cubicBezTo>
                <a:cubicBezTo>
                  <a:pt x="17289" y="33"/>
                  <a:pt x="19891" y="1184"/>
                  <a:pt x="18897" y="2319"/>
                </a:cubicBezTo>
                <a:cubicBezTo>
                  <a:pt x="17941" y="3413"/>
                  <a:pt x="15357" y="4003"/>
                  <a:pt x="12949" y="4320"/>
                </a:cubicBezTo>
                <a:cubicBezTo>
                  <a:pt x="7276" y="5067"/>
                  <a:pt x="2819" y="6566"/>
                  <a:pt x="1100" y="8472"/>
                </a:cubicBezTo>
                <a:cubicBezTo>
                  <a:pt x="376" y="9274"/>
                  <a:pt x="0" y="10112"/>
                  <a:pt x="0" y="10963"/>
                </a:cubicBezTo>
                <a:lnTo>
                  <a:pt x="0" y="17568"/>
                </a:lnTo>
                <a:cubicBezTo>
                  <a:pt x="0" y="19795"/>
                  <a:pt x="5569" y="21600"/>
                  <a:pt x="12437" y="21600"/>
                </a:cubicBezTo>
                <a:lnTo>
                  <a:pt x="12437" y="21600"/>
                </a:lnTo>
                <a:cubicBezTo>
                  <a:pt x="12726" y="21600"/>
                  <a:pt x="13010" y="21595"/>
                  <a:pt x="13294" y="21589"/>
                </a:cubicBezTo>
                <a:cubicBezTo>
                  <a:pt x="6822" y="21447"/>
                  <a:pt x="1711" y="19702"/>
                  <a:pt x="1711" y="17568"/>
                </a:cubicBezTo>
                <a:close/>
              </a:path>
            </a:pathLst>
          </a:custGeom>
          <a:solidFill>
            <a:srgbClr val="0C6B90"/>
          </a:solidFill>
          <a:ln>
            <a:noFill/>
          </a:ln>
        </p:spPr>
        <p:txBody>
          <a:bodyPr spcFirstLastPara="1" wrap="square" lIns="28575" tIns="28575" rIns="28575" bIns="28575" anchor="ctr" anchorCtr="0">
            <a:noAutofit/>
          </a:bodyPr>
          <a:lstStyle/>
          <a:p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" name="Google Shape;69;p7"/>
          <p:cNvSpPr/>
          <p:nvPr/>
        </p:nvSpPr>
        <p:spPr>
          <a:xfrm>
            <a:off x="6010477" y="1145211"/>
            <a:ext cx="1066310" cy="3412406"/>
          </a:xfrm>
          <a:custGeom>
            <a:avLst/>
            <a:gdLst/>
            <a:ahLst/>
            <a:cxnLst/>
            <a:rect l="l" t="t" r="r" b="b"/>
            <a:pathLst>
              <a:path w="20820" h="21600" extrusionOk="0">
                <a:moveTo>
                  <a:pt x="1711" y="17568"/>
                </a:moveTo>
                <a:lnTo>
                  <a:pt x="1711" y="10963"/>
                </a:lnTo>
                <a:cubicBezTo>
                  <a:pt x="1711" y="10112"/>
                  <a:pt x="2087" y="9274"/>
                  <a:pt x="2811" y="8472"/>
                </a:cubicBezTo>
                <a:cubicBezTo>
                  <a:pt x="4530" y="6566"/>
                  <a:pt x="8986" y="5067"/>
                  <a:pt x="14658" y="4320"/>
                </a:cubicBezTo>
                <a:cubicBezTo>
                  <a:pt x="17066" y="4003"/>
                  <a:pt x="19650" y="3413"/>
                  <a:pt x="20607" y="2319"/>
                </a:cubicBezTo>
                <a:cubicBezTo>
                  <a:pt x="21600" y="1184"/>
                  <a:pt x="18998" y="33"/>
                  <a:pt x="15359" y="1"/>
                </a:cubicBezTo>
                <a:cubicBezTo>
                  <a:pt x="15261" y="1"/>
                  <a:pt x="15161" y="0"/>
                  <a:pt x="15059" y="0"/>
                </a:cubicBezTo>
                <a:cubicBezTo>
                  <a:pt x="14482" y="0"/>
                  <a:pt x="13910" y="0"/>
                  <a:pt x="13348" y="0"/>
                </a:cubicBezTo>
                <a:cubicBezTo>
                  <a:pt x="13450" y="0"/>
                  <a:pt x="13550" y="1"/>
                  <a:pt x="13648" y="1"/>
                </a:cubicBezTo>
                <a:cubicBezTo>
                  <a:pt x="17287" y="33"/>
                  <a:pt x="19889" y="1184"/>
                  <a:pt x="18896" y="2319"/>
                </a:cubicBezTo>
                <a:cubicBezTo>
                  <a:pt x="17939" y="3413"/>
                  <a:pt x="15355" y="4003"/>
                  <a:pt x="12947" y="4320"/>
                </a:cubicBezTo>
                <a:cubicBezTo>
                  <a:pt x="7275" y="5067"/>
                  <a:pt x="2819" y="6566"/>
                  <a:pt x="1100" y="8472"/>
                </a:cubicBezTo>
                <a:cubicBezTo>
                  <a:pt x="376" y="9274"/>
                  <a:pt x="0" y="10112"/>
                  <a:pt x="0" y="10963"/>
                </a:cubicBezTo>
                <a:lnTo>
                  <a:pt x="0" y="17568"/>
                </a:lnTo>
                <a:cubicBezTo>
                  <a:pt x="0" y="19795"/>
                  <a:pt x="5568" y="21600"/>
                  <a:pt x="12436" y="21600"/>
                </a:cubicBezTo>
                <a:lnTo>
                  <a:pt x="12436" y="21600"/>
                </a:lnTo>
                <a:cubicBezTo>
                  <a:pt x="12724" y="21600"/>
                  <a:pt x="13009" y="21595"/>
                  <a:pt x="13293" y="21589"/>
                </a:cubicBezTo>
                <a:cubicBezTo>
                  <a:pt x="6823" y="21447"/>
                  <a:pt x="1711" y="19702"/>
                  <a:pt x="1711" y="17568"/>
                </a:cubicBezTo>
                <a:close/>
              </a:path>
            </a:pathLst>
          </a:custGeom>
          <a:solidFill>
            <a:srgbClr val="53622E"/>
          </a:solidFill>
          <a:ln>
            <a:noFill/>
          </a:ln>
        </p:spPr>
        <p:txBody>
          <a:bodyPr spcFirstLastPara="1" wrap="square" lIns="28575" tIns="28575" rIns="28575" bIns="28575" anchor="ctr" anchorCtr="0">
            <a:noAutofit/>
          </a:bodyPr>
          <a:lstStyle/>
          <a:p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" name="Google Shape;70;p7"/>
          <p:cNvSpPr/>
          <p:nvPr/>
        </p:nvSpPr>
        <p:spPr>
          <a:xfrm>
            <a:off x="3818365" y="1137508"/>
            <a:ext cx="1066310" cy="3412406"/>
          </a:xfrm>
          <a:custGeom>
            <a:avLst/>
            <a:gdLst/>
            <a:ahLst/>
            <a:cxnLst/>
            <a:rect l="l" t="t" r="r" b="b"/>
            <a:pathLst>
              <a:path w="20820" h="21600" extrusionOk="0">
                <a:moveTo>
                  <a:pt x="1711" y="17568"/>
                </a:moveTo>
                <a:lnTo>
                  <a:pt x="1711" y="10963"/>
                </a:lnTo>
                <a:cubicBezTo>
                  <a:pt x="1711" y="10112"/>
                  <a:pt x="2087" y="9274"/>
                  <a:pt x="2811" y="8472"/>
                </a:cubicBezTo>
                <a:cubicBezTo>
                  <a:pt x="4530" y="6566"/>
                  <a:pt x="8986" y="5067"/>
                  <a:pt x="14658" y="4320"/>
                </a:cubicBezTo>
                <a:cubicBezTo>
                  <a:pt x="17066" y="4003"/>
                  <a:pt x="19650" y="3413"/>
                  <a:pt x="20607" y="2319"/>
                </a:cubicBezTo>
                <a:cubicBezTo>
                  <a:pt x="21600" y="1184"/>
                  <a:pt x="18998" y="33"/>
                  <a:pt x="15359" y="1"/>
                </a:cubicBezTo>
                <a:cubicBezTo>
                  <a:pt x="15261" y="1"/>
                  <a:pt x="15161" y="0"/>
                  <a:pt x="15059" y="0"/>
                </a:cubicBezTo>
                <a:cubicBezTo>
                  <a:pt x="14482" y="0"/>
                  <a:pt x="13910" y="0"/>
                  <a:pt x="13348" y="0"/>
                </a:cubicBezTo>
                <a:cubicBezTo>
                  <a:pt x="13450" y="0"/>
                  <a:pt x="13550" y="1"/>
                  <a:pt x="13648" y="1"/>
                </a:cubicBezTo>
                <a:cubicBezTo>
                  <a:pt x="17287" y="33"/>
                  <a:pt x="19889" y="1184"/>
                  <a:pt x="18896" y="2319"/>
                </a:cubicBezTo>
                <a:cubicBezTo>
                  <a:pt x="17939" y="3413"/>
                  <a:pt x="15355" y="4003"/>
                  <a:pt x="12947" y="4320"/>
                </a:cubicBezTo>
                <a:cubicBezTo>
                  <a:pt x="7275" y="5067"/>
                  <a:pt x="2819" y="6566"/>
                  <a:pt x="1100" y="8472"/>
                </a:cubicBezTo>
                <a:cubicBezTo>
                  <a:pt x="376" y="9274"/>
                  <a:pt x="0" y="10112"/>
                  <a:pt x="0" y="10963"/>
                </a:cubicBezTo>
                <a:lnTo>
                  <a:pt x="0" y="17568"/>
                </a:lnTo>
                <a:cubicBezTo>
                  <a:pt x="0" y="19795"/>
                  <a:pt x="5568" y="21600"/>
                  <a:pt x="12436" y="21600"/>
                </a:cubicBezTo>
                <a:lnTo>
                  <a:pt x="12436" y="21600"/>
                </a:lnTo>
                <a:cubicBezTo>
                  <a:pt x="12724" y="21600"/>
                  <a:pt x="13009" y="21595"/>
                  <a:pt x="13293" y="21589"/>
                </a:cubicBezTo>
                <a:cubicBezTo>
                  <a:pt x="6823" y="21447"/>
                  <a:pt x="1711" y="19702"/>
                  <a:pt x="1711" y="17568"/>
                </a:cubicBezTo>
                <a:close/>
              </a:path>
            </a:pathLst>
          </a:custGeom>
          <a:solidFill>
            <a:srgbClr val="864A04"/>
          </a:solidFill>
          <a:ln>
            <a:noFill/>
          </a:ln>
        </p:spPr>
        <p:txBody>
          <a:bodyPr spcFirstLastPara="1" wrap="square" lIns="28575" tIns="28575" rIns="28575" bIns="28575" anchor="ctr" anchorCtr="0">
            <a:noAutofit/>
          </a:bodyPr>
          <a:lstStyle/>
          <a:p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70" name="Google Shape;609;p35"/>
          <p:cNvGrpSpPr/>
          <p:nvPr/>
        </p:nvGrpSpPr>
        <p:grpSpPr>
          <a:xfrm>
            <a:off x="6454716" y="3648123"/>
            <a:ext cx="539057" cy="553965"/>
            <a:chOff x="2942" y="1185"/>
            <a:chExt cx="1788" cy="1942"/>
          </a:xfrm>
          <a:solidFill>
            <a:srgbClr val="1A2442"/>
          </a:solidFill>
        </p:grpSpPr>
        <p:sp>
          <p:nvSpPr>
            <p:cNvPr id="71" name="Google Shape;610;p35"/>
            <p:cNvSpPr/>
            <p:nvPr/>
          </p:nvSpPr>
          <p:spPr>
            <a:xfrm>
              <a:off x="3414" y="2132"/>
              <a:ext cx="526" cy="525"/>
            </a:xfrm>
            <a:custGeom>
              <a:avLst/>
              <a:gdLst/>
              <a:ahLst/>
              <a:cxnLst/>
              <a:rect l="l" t="t" r="r" b="b"/>
              <a:pathLst>
                <a:path w="1051" h="1049" extrusionOk="0">
                  <a:moveTo>
                    <a:pt x="526" y="193"/>
                  </a:moveTo>
                  <a:lnTo>
                    <a:pt x="476" y="196"/>
                  </a:lnTo>
                  <a:lnTo>
                    <a:pt x="430" y="207"/>
                  </a:lnTo>
                  <a:lnTo>
                    <a:pt x="385" y="224"/>
                  </a:lnTo>
                  <a:lnTo>
                    <a:pt x="345" y="246"/>
                  </a:lnTo>
                  <a:lnTo>
                    <a:pt x="308" y="274"/>
                  </a:lnTo>
                  <a:lnTo>
                    <a:pt x="275" y="306"/>
                  </a:lnTo>
                  <a:lnTo>
                    <a:pt x="246" y="344"/>
                  </a:lnTo>
                  <a:lnTo>
                    <a:pt x="224" y="384"/>
                  </a:lnTo>
                  <a:lnTo>
                    <a:pt x="207" y="429"/>
                  </a:lnTo>
                  <a:lnTo>
                    <a:pt x="197" y="475"/>
                  </a:lnTo>
                  <a:lnTo>
                    <a:pt x="193" y="525"/>
                  </a:lnTo>
                  <a:lnTo>
                    <a:pt x="197" y="573"/>
                  </a:lnTo>
                  <a:lnTo>
                    <a:pt x="207" y="621"/>
                  </a:lnTo>
                  <a:lnTo>
                    <a:pt x="224" y="664"/>
                  </a:lnTo>
                  <a:lnTo>
                    <a:pt x="246" y="706"/>
                  </a:lnTo>
                  <a:lnTo>
                    <a:pt x="275" y="742"/>
                  </a:lnTo>
                  <a:lnTo>
                    <a:pt x="308" y="776"/>
                  </a:lnTo>
                  <a:lnTo>
                    <a:pt x="345" y="804"/>
                  </a:lnTo>
                  <a:lnTo>
                    <a:pt x="385" y="826"/>
                  </a:lnTo>
                  <a:lnTo>
                    <a:pt x="430" y="843"/>
                  </a:lnTo>
                  <a:lnTo>
                    <a:pt x="476" y="854"/>
                  </a:lnTo>
                  <a:lnTo>
                    <a:pt x="526" y="857"/>
                  </a:lnTo>
                  <a:lnTo>
                    <a:pt x="574" y="854"/>
                  </a:lnTo>
                  <a:lnTo>
                    <a:pt x="622" y="843"/>
                  </a:lnTo>
                  <a:lnTo>
                    <a:pt x="666" y="826"/>
                  </a:lnTo>
                  <a:lnTo>
                    <a:pt x="707" y="804"/>
                  </a:lnTo>
                  <a:lnTo>
                    <a:pt x="744" y="776"/>
                  </a:lnTo>
                  <a:lnTo>
                    <a:pt x="777" y="742"/>
                  </a:lnTo>
                  <a:lnTo>
                    <a:pt x="805" y="706"/>
                  </a:lnTo>
                  <a:lnTo>
                    <a:pt x="828" y="664"/>
                  </a:lnTo>
                  <a:lnTo>
                    <a:pt x="844" y="621"/>
                  </a:lnTo>
                  <a:lnTo>
                    <a:pt x="855" y="573"/>
                  </a:lnTo>
                  <a:lnTo>
                    <a:pt x="859" y="525"/>
                  </a:lnTo>
                  <a:lnTo>
                    <a:pt x="855" y="475"/>
                  </a:lnTo>
                  <a:lnTo>
                    <a:pt x="844" y="429"/>
                  </a:lnTo>
                  <a:lnTo>
                    <a:pt x="828" y="384"/>
                  </a:lnTo>
                  <a:lnTo>
                    <a:pt x="805" y="344"/>
                  </a:lnTo>
                  <a:lnTo>
                    <a:pt x="777" y="306"/>
                  </a:lnTo>
                  <a:lnTo>
                    <a:pt x="744" y="274"/>
                  </a:lnTo>
                  <a:lnTo>
                    <a:pt x="707" y="246"/>
                  </a:lnTo>
                  <a:lnTo>
                    <a:pt x="666" y="224"/>
                  </a:lnTo>
                  <a:lnTo>
                    <a:pt x="622" y="207"/>
                  </a:lnTo>
                  <a:lnTo>
                    <a:pt x="574" y="196"/>
                  </a:lnTo>
                  <a:lnTo>
                    <a:pt x="526" y="193"/>
                  </a:lnTo>
                  <a:close/>
                  <a:moveTo>
                    <a:pt x="526" y="0"/>
                  </a:moveTo>
                  <a:lnTo>
                    <a:pt x="587" y="4"/>
                  </a:lnTo>
                  <a:lnTo>
                    <a:pt x="645" y="14"/>
                  </a:lnTo>
                  <a:lnTo>
                    <a:pt x="702" y="31"/>
                  </a:lnTo>
                  <a:lnTo>
                    <a:pt x="757" y="53"/>
                  </a:lnTo>
                  <a:lnTo>
                    <a:pt x="807" y="82"/>
                  </a:lnTo>
                  <a:lnTo>
                    <a:pt x="854" y="116"/>
                  </a:lnTo>
                  <a:lnTo>
                    <a:pt x="897" y="154"/>
                  </a:lnTo>
                  <a:lnTo>
                    <a:pt x="936" y="198"/>
                  </a:lnTo>
                  <a:lnTo>
                    <a:pt x="969" y="244"/>
                  </a:lnTo>
                  <a:lnTo>
                    <a:pt x="997" y="295"/>
                  </a:lnTo>
                  <a:lnTo>
                    <a:pt x="1020" y="348"/>
                  </a:lnTo>
                  <a:lnTo>
                    <a:pt x="1038" y="404"/>
                  </a:lnTo>
                  <a:lnTo>
                    <a:pt x="1047" y="464"/>
                  </a:lnTo>
                  <a:lnTo>
                    <a:pt x="1051" y="525"/>
                  </a:lnTo>
                  <a:lnTo>
                    <a:pt x="1047" y="585"/>
                  </a:lnTo>
                  <a:lnTo>
                    <a:pt x="1038" y="644"/>
                  </a:lnTo>
                  <a:lnTo>
                    <a:pt x="1020" y="701"/>
                  </a:lnTo>
                  <a:lnTo>
                    <a:pt x="997" y="755"/>
                  </a:lnTo>
                  <a:lnTo>
                    <a:pt x="969" y="805"/>
                  </a:lnTo>
                  <a:lnTo>
                    <a:pt x="936" y="852"/>
                  </a:lnTo>
                  <a:lnTo>
                    <a:pt x="897" y="895"/>
                  </a:lnTo>
                  <a:lnTo>
                    <a:pt x="854" y="934"/>
                  </a:lnTo>
                  <a:lnTo>
                    <a:pt x="807" y="967"/>
                  </a:lnTo>
                  <a:lnTo>
                    <a:pt x="757" y="995"/>
                  </a:lnTo>
                  <a:lnTo>
                    <a:pt x="702" y="1018"/>
                  </a:lnTo>
                  <a:lnTo>
                    <a:pt x="645" y="1036"/>
                  </a:lnTo>
                  <a:lnTo>
                    <a:pt x="587" y="1045"/>
                  </a:lnTo>
                  <a:lnTo>
                    <a:pt x="526" y="1049"/>
                  </a:lnTo>
                  <a:lnTo>
                    <a:pt x="464" y="1045"/>
                  </a:lnTo>
                  <a:lnTo>
                    <a:pt x="405" y="1036"/>
                  </a:lnTo>
                  <a:lnTo>
                    <a:pt x="348" y="1018"/>
                  </a:lnTo>
                  <a:lnTo>
                    <a:pt x="295" y="995"/>
                  </a:lnTo>
                  <a:lnTo>
                    <a:pt x="244" y="967"/>
                  </a:lnTo>
                  <a:lnTo>
                    <a:pt x="198" y="934"/>
                  </a:lnTo>
                  <a:lnTo>
                    <a:pt x="154" y="895"/>
                  </a:lnTo>
                  <a:lnTo>
                    <a:pt x="116" y="852"/>
                  </a:lnTo>
                  <a:lnTo>
                    <a:pt x="83" y="805"/>
                  </a:lnTo>
                  <a:lnTo>
                    <a:pt x="54" y="755"/>
                  </a:lnTo>
                  <a:lnTo>
                    <a:pt x="31" y="701"/>
                  </a:lnTo>
                  <a:lnTo>
                    <a:pt x="14" y="644"/>
                  </a:lnTo>
                  <a:lnTo>
                    <a:pt x="3" y="585"/>
                  </a:lnTo>
                  <a:lnTo>
                    <a:pt x="0" y="525"/>
                  </a:lnTo>
                  <a:lnTo>
                    <a:pt x="3" y="464"/>
                  </a:lnTo>
                  <a:lnTo>
                    <a:pt x="14" y="404"/>
                  </a:lnTo>
                  <a:lnTo>
                    <a:pt x="31" y="348"/>
                  </a:lnTo>
                  <a:lnTo>
                    <a:pt x="54" y="295"/>
                  </a:lnTo>
                  <a:lnTo>
                    <a:pt x="83" y="244"/>
                  </a:lnTo>
                  <a:lnTo>
                    <a:pt x="116" y="198"/>
                  </a:lnTo>
                  <a:lnTo>
                    <a:pt x="154" y="154"/>
                  </a:lnTo>
                  <a:lnTo>
                    <a:pt x="198" y="116"/>
                  </a:lnTo>
                  <a:lnTo>
                    <a:pt x="244" y="82"/>
                  </a:lnTo>
                  <a:lnTo>
                    <a:pt x="295" y="53"/>
                  </a:lnTo>
                  <a:lnTo>
                    <a:pt x="348" y="31"/>
                  </a:lnTo>
                  <a:lnTo>
                    <a:pt x="405" y="14"/>
                  </a:lnTo>
                  <a:lnTo>
                    <a:pt x="464" y="4"/>
                  </a:lnTo>
                  <a:lnTo>
                    <a:pt x="52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" name="Google Shape;611;p35"/>
            <p:cNvSpPr/>
            <p:nvPr/>
          </p:nvSpPr>
          <p:spPr>
            <a:xfrm>
              <a:off x="2942" y="1185"/>
              <a:ext cx="1788" cy="1942"/>
            </a:xfrm>
            <a:custGeom>
              <a:avLst/>
              <a:gdLst/>
              <a:ahLst/>
              <a:cxnLst/>
              <a:rect l="l" t="t" r="r" b="b"/>
              <a:pathLst>
                <a:path w="3576" h="3883" extrusionOk="0">
                  <a:moveTo>
                    <a:pt x="1369" y="1143"/>
                  </a:moveTo>
                  <a:lnTo>
                    <a:pt x="1369" y="1293"/>
                  </a:lnTo>
                  <a:lnTo>
                    <a:pt x="1367" y="1315"/>
                  </a:lnTo>
                  <a:lnTo>
                    <a:pt x="1360" y="1337"/>
                  </a:lnTo>
                  <a:lnTo>
                    <a:pt x="1347" y="1354"/>
                  </a:lnTo>
                  <a:lnTo>
                    <a:pt x="1331" y="1370"/>
                  </a:lnTo>
                  <a:lnTo>
                    <a:pt x="1312" y="1380"/>
                  </a:lnTo>
                  <a:lnTo>
                    <a:pt x="1290" y="1387"/>
                  </a:lnTo>
                  <a:lnTo>
                    <a:pt x="1214" y="1403"/>
                  </a:lnTo>
                  <a:lnTo>
                    <a:pt x="1141" y="1424"/>
                  </a:lnTo>
                  <a:lnTo>
                    <a:pt x="1068" y="1451"/>
                  </a:lnTo>
                  <a:lnTo>
                    <a:pt x="1000" y="1483"/>
                  </a:lnTo>
                  <a:lnTo>
                    <a:pt x="932" y="1520"/>
                  </a:lnTo>
                  <a:lnTo>
                    <a:pt x="867" y="1562"/>
                  </a:lnTo>
                  <a:lnTo>
                    <a:pt x="847" y="1573"/>
                  </a:lnTo>
                  <a:lnTo>
                    <a:pt x="825" y="1579"/>
                  </a:lnTo>
                  <a:lnTo>
                    <a:pt x="803" y="1580"/>
                  </a:lnTo>
                  <a:lnTo>
                    <a:pt x="782" y="1575"/>
                  </a:lnTo>
                  <a:lnTo>
                    <a:pt x="761" y="1566"/>
                  </a:lnTo>
                  <a:lnTo>
                    <a:pt x="744" y="1552"/>
                  </a:lnTo>
                  <a:lnTo>
                    <a:pt x="637" y="1447"/>
                  </a:lnTo>
                  <a:lnTo>
                    <a:pt x="496" y="1587"/>
                  </a:lnTo>
                  <a:lnTo>
                    <a:pt x="602" y="1694"/>
                  </a:lnTo>
                  <a:lnTo>
                    <a:pt x="616" y="1711"/>
                  </a:lnTo>
                  <a:lnTo>
                    <a:pt x="625" y="1731"/>
                  </a:lnTo>
                  <a:lnTo>
                    <a:pt x="630" y="1753"/>
                  </a:lnTo>
                  <a:lnTo>
                    <a:pt x="629" y="1775"/>
                  </a:lnTo>
                  <a:lnTo>
                    <a:pt x="623" y="1796"/>
                  </a:lnTo>
                  <a:lnTo>
                    <a:pt x="612" y="1816"/>
                  </a:lnTo>
                  <a:lnTo>
                    <a:pt x="570" y="1881"/>
                  </a:lnTo>
                  <a:lnTo>
                    <a:pt x="533" y="1948"/>
                  </a:lnTo>
                  <a:lnTo>
                    <a:pt x="501" y="2017"/>
                  </a:lnTo>
                  <a:lnTo>
                    <a:pt x="475" y="2089"/>
                  </a:lnTo>
                  <a:lnTo>
                    <a:pt x="453" y="2163"/>
                  </a:lnTo>
                  <a:lnTo>
                    <a:pt x="437" y="2238"/>
                  </a:lnTo>
                  <a:lnTo>
                    <a:pt x="431" y="2260"/>
                  </a:lnTo>
                  <a:lnTo>
                    <a:pt x="419" y="2280"/>
                  </a:lnTo>
                  <a:lnTo>
                    <a:pt x="404" y="2295"/>
                  </a:lnTo>
                  <a:lnTo>
                    <a:pt x="386" y="2308"/>
                  </a:lnTo>
                  <a:lnTo>
                    <a:pt x="365" y="2315"/>
                  </a:lnTo>
                  <a:lnTo>
                    <a:pt x="342" y="2318"/>
                  </a:lnTo>
                  <a:lnTo>
                    <a:pt x="193" y="2318"/>
                  </a:lnTo>
                  <a:lnTo>
                    <a:pt x="193" y="2517"/>
                  </a:lnTo>
                  <a:lnTo>
                    <a:pt x="342" y="2517"/>
                  </a:lnTo>
                  <a:lnTo>
                    <a:pt x="365" y="2521"/>
                  </a:lnTo>
                  <a:lnTo>
                    <a:pt x="386" y="2528"/>
                  </a:lnTo>
                  <a:lnTo>
                    <a:pt x="404" y="2540"/>
                  </a:lnTo>
                  <a:lnTo>
                    <a:pt x="419" y="2556"/>
                  </a:lnTo>
                  <a:lnTo>
                    <a:pt x="431" y="2575"/>
                  </a:lnTo>
                  <a:lnTo>
                    <a:pt x="437" y="2598"/>
                  </a:lnTo>
                  <a:lnTo>
                    <a:pt x="453" y="2673"/>
                  </a:lnTo>
                  <a:lnTo>
                    <a:pt x="475" y="2747"/>
                  </a:lnTo>
                  <a:lnTo>
                    <a:pt x="501" y="2817"/>
                  </a:lnTo>
                  <a:lnTo>
                    <a:pt x="533" y="2887"/>
                  </a:lnTo>
                  <a:lnTo>
                    <a:pt x="570" y="2955"/>
                  </a:lnTo>
                  <a:lnTo>
                    <a:pt x="612" y="3020"/>
                  </a:lnTo>
                  <a:lnTo>
                    <a:pt x="623" y="3040"/>
                  </a:lnTo>
                  <a:lnTo>
                    <a:pt x="629" y="3061"/>
                  </a:lnTo>
                  <a:lnTo>
                    <a:pt x="630" y="3083"/>
                  </a:lnTo>
                  <a:lnTo>
                    <a:pt x="625" y="3105"/>
                  </a:lnTo>
                  <a:lnTo>
                    <a:pt x="616" y="3125"/>
                  </a:lnTo>
                  <a:lnTo>
                    <a:pt x="602" y="3142"/>
                  </a:lnTo>
                  <a:lnTo>
                    <a:pt x="496" y="3249"/>
                  </a:lnTo>
                  <a:lnTo>
                    <a:pt x="637" y="3389"/>
                  </a:lnTo>
                  <a:lnTo>
                    <a:pt x="744" y="3284"/>
                  </a:lnTo>
                  <a:lnTo>
                    <a:pt x="761" y="3270"/>
                  </a:lnTo>
                  <a:lnTo>
                    <a:pt x="782" y="3261"/>
                  </a:lnTo>
                  <a:lnTo>
                    <a:pt x="803" y="3256"/>
                  </a:lnTo>
                  <a:lnTo>
                    <a:pt x="825" y="3257"/>
                  </a:lnTo>
                  <a:lnTo>
                    <a:pt x="847" y="3262"/>
                  </a:lnTo>
                  <a:lnTo>
                    <a:pt x="867" y="3274"/>
                  </a:lnTo>
                  <a:lnTo>
                    <a:pt x="932" y="3315"/>
                  </a:lnTo>
                  <a:lnTo>
                    <a:pt x="998" y="3353"/>
                  </a:lnTo>
                  <a:lnTo>
                    <a:pt x="1068" y="3385"/>
                  </a:lnTo>
                  <a:lnTo>
                    <a:pt x="1141" y="3411"/>
                  </a:lnTo>
                  <a:lnTo>
                    <a:pt x="1214" y="3432"/>
                  </a:lnTo>
                  <a:lnTo>
                    <a:pt x="1290" y="3449"/>
                  </a:lnTo>
                  <a:lnTo>
                    <a:pt x="1312" y="3454"/>
                  </a:lnTo>
                  <a:lnTo>
                    <a:pt x="1331" y="3466"/>
                  </a:lnTo>
                  <a:lnTo>
                    <a:pt x="1347" y="3480"/>
                  </a:lnTo>
                  <a:lnTo>
                    <a:pt x="1360" y="3499"/>
                  </a:lnTo>
                  <a:lnTo>
                    <a:pt x="1367" y="3519"/>
                  </a:lnTo>
                  <a:lnTo>
                    <a:pt x="1369" y="3543"/>
                  </a:lnTo>
                  <a:lnTo>
                    <a:pt x="1369" y="3692"/>
                  </a:lnTo>
                  <a:lnTo>
                    <a:pt x="1569" y="3692"/>
                  </a:lnTo>
                  <a:lnTo>
                    <a:pt x="1569" y="3543"/>
                  </a:lnTo>
                  <a:lnTo>
                    <a:pt x="1573" y="3519"/>
                  </a:lnTo>
                  <a:lnTo>
                    <a:pt x="1580" y="3499"/>
                  </a:lnTo>
                  <a:lnTo>
                    <a:pt x="1592" y="3480"/>
                  </a:lnTo>
                  <a:lnTo>
                    <a:pt x="1608" y="3466"/>
                  </a:lnTo>
                  <a:lnTo>
                    <a:pt x="1627" y="3454"/>
                  </a:lnTo>
                  <a:lnTo>
                    <a:pt x="1650" y="3449"/>
                  </a:lnTo>
                  <a:lnTo>
                    <a:pt x="1726" y="3432"/>
                  </a:lnTo>
                  <a:lnTo>
                    <a:pt x="1799" y="3411"/>
                  </a:lnTo>
                  <a:lnTo>
                    <a:pt x="1871" y="3385"/>
                  </a:lnTo>
                  <a:lnTo>
                    <a:pt x="1940" y="3353"/>
                  </a:lnTo>
                  <a:lnTo>
                    <a:pt x="2008" y="3315"/>
                  </a:lnTo>
                  <a:lnTo>
                    <a:pt x="2073" y="3274"/>
                  </a:lnTo>
                  <a:lnTo>
                    <a:pt x="2093" y="3262"/>
                  </a:lnTo>
                  <a:lnTo>
                    <a:pt x="2114" y="3257"/>
                  </a:lnTo>
                  <a:lnTo>
                    <a:pt x="2137" y="3256"/>
                  </a:lnTo>
                  <a:lnTo>
                    <a:pt x="2158" y="3261"/>
                  </a:lnTo>
                  <a:lnTo>
                    <a:pt x="2178" y="3270"/>
                  </a:lnTo>
                  <a:lnTo>
                    <a:pt x="2196" y="3284"/>
                  </a:lnTo>
                  <a:lnTo>
                    <a:pt x="2303" y="3389"/>
                  </a:lnTo>
                  <a:lnTo>
                    <a:pt x="2444" y="3249"/>
                  </a:lnTo>
                  <a:lnTo>
                    <a:pt x="2338" y="3142"/>
                  </a:lnTo>
                  <a:lnTo>
                    <a:pt x="2324" y="3125"/>
                  </a:lnTo>
                  <a:lnTo>
                    <a:pt x="2314" y="3105"/>
                  </a:lnTo>
                  <a:lnTo>
                    <a:pt x="2310" y="3083"/>
                  </a:lnTo>
                  <a:lnTo>
                    <a:pt x="2311" y="3061"/>
                  </a:lnTo>
                  <a:lnTo>
                    <a:pt x="2317" y="3040"/>
                  </a:lnTo>
                  <a:lnTo>
                    <a:pt x="2327" y="3020"/>
                  </a:lnTo>
                  <a:lnTo>
                    <a:pt x="2369" y="2955"/>
                  </a:lnTo>
                  <a:lnTo>
                    <a:pt x="2407" y="2887"/>
                  </a:lnTo>
                  <a:lnTo>
                    <a:pt x="2439" y="2817"/>
                  </a:lnTo>
                  <a:lnTo>
                    <a:pt x="2465" y="2747"/>
                  </a:lnTo>
                  <a:lnTo>
                    <a:pt x="2486" y="2673"/>
                  </a:lnTo>
                  <a:lnTo>
                    <a:pt x="2503" y="2598"/>
                  </a:lnTo>
                  <a:lnTo>
                    <a:pt x="2509" y="2575"/>
                  </a:lnTo>
                  <a:lnTo>
                    <a:pt x="2521" y="2556"/>
                  </a:lnTo>
                  <a:lnTo>
                    <a:pt x="2535" y="2540"/>
                  </a:lnTo>
                  <a:lnTo>
                    <a:pt x="2554" y="2528"/>
                  </a:lnTo>
                  <a:lnTo>
                    <a:pt x="2575" y="2521"/>
                  </a:lnTo>
                  <a:lnTo>
                    <a:pt x="2598" y="2517"/>
                  </a:lnTo>
                  <a:lnTo>
                    <a:pt x="2747" y="2517"/>
                  </a:lnTo>
                  <a:lnTo>
                    <a:pt x="2747" y="2318"/>
                  </a:lnTo>
                  <a:lnTo>
                    <a:pt x="2598" y="2318"/>
                  </a:lnTo>
                  <a:lnTo>
                    <a:pt x="2575" y="2315"/>
                  </a:lnTo>
                  <a:lnTo>
                    <a:pt x="2554" y="2308"/>
                  </a:lnTo>
                  <a:lnTo>
                    <a:pt x="2535" y="2295"/>
                  </a:lnTo>
                  <a:lnTo>
                    <a:pt x="2521" y="2280"/>
                  </a:lnTo>
                  <a:lnTo>
                    <a:pt x="2509" y="2260"/>
                  </a:lnTo>
                  <a:lnTo>
                    <a:pt x="2503" y="2238"/>
                  </a:lnTo>
                  <a:lnTo>
                    <a:pt x="2490" y="2175"/>
                  </a:lnTo>
                  <a:lnTo>
                    <a:pt x="2472" y="2112"/>
                  </a:lnTo>
                  <a:lnTo>
                    <a:pt x="2208" y="2302"/>
                  </a:lnTo>
                  <a:lnTo>
                    <a:pt x="2190" y="2313"/>
                  </a:lnTo>
                  <a:lnTo>
                    <a:pt x="2171" y="2319"/>
                  </a:lnTo>
                  <a:lnTo>
                    <a:pt x="2151" y="2321"/>
                  </a:lnTo>
                  <a:lnTo>
                    <a:pt x="2128" y="2318"/>
                  </a:lnTo>
                  <a:lnTo>
                    <a:pt x="2107" y="2310"/>
                  </a:lnTo>
                  <a:lnTo>
                    <a:pt x="2089" y="2299"/>
                  </a:lnTo>
                  <a:lnTo>
                    <a:pt x="2075" y="2283"/>
                  </a:lnTo>
                  <a:lnTo>
                    <a:pt x="2064" y="2266"/>
                  </a:lnTo>
                  <a:lnTo>
                    <a:pt x="2057" y="2245"/>
                  </a:lnTo>
                  <a:lnTo>
                    <a:pt x="2055" y="2224"/>
                  </a:lnTo>
                  <a:lnTo>
                    <a:pt x="2055" y="1864"/>
                  </a:lnTo>
                  <a:lnTo>
                    <a:pt x="1958" y="1864"/>
                  </a:lnTo>
                  <a:lnTo>
                    <a:pt x="1905" y="1860"/>
                  </a:lnTo>
                  <a:lnTo>
                    <a:pt x="1851" y="1851"/>
                  </a:lnTo>
                  <a:lnTo>
                    <a:pt x="1802" y="1835"/>
                  </a:lnTo>
                  <a:lnTo>
                    <a:pt x="1755" y="1813"/>
                  </a:lnTo>
                  <a:lnTo>
                    <a:pt x="1711" y="1787"/>
                  </a:lnTo>
                  <a:lnTo>
                    <a:pt x="1671" y="1755"/>
                  </a:lnTo>
                  <a:lnTo>
                    <a:pt x="1634" y="1718"/>
                  </a:lnTo>
                  <a:lnTo>
                    <a:pt x="1603" y="1678"/>
                  </a:lnTo>
                  <a:lnTo>
                    <a:pt x="1576" y="1634"/>
                  </a:lnTo>
                  <a:lnTo>
                    <a:pt x="1554" y="1587"/>
                  </a:lnTo>
                  <a:lnTo>
                    <a:pt x="1539" y="1538"/>
                  </a:lnTo>
                  <a:lnTo>
                    <a:pt x="1529" y="1486"/>
                  </a:lnTo>
                  <a:lnTo>
                    <a:pt x="1526" y="1431"/>
                  </a:lnTo>
                  <a:lnTo>
                    <a:pt x="1526" y="1143"/>
                  </a:lnTo>
                  <a:lnTo>
                    <a:pt x="1369" y="1143"/>
                  </a:lnTo>
                  <a:close/>
                  <a:moveTo>
                    <a:pt x="1958" y="191"/>
                  </a:moveTo>
                  <a:lnTo>
                    <a:pt x="1919" y="195"/>
                  </a:lnTo>
                  <a:lnTo>
                    <a:pt x="1882" y="204"/>
                  </a:lnTo>
                  <a:lnTo>
                    <a:pt x="1848" y="219"/>
                  </a:lnTo>
                  <a:lnTo>
                    <a:pt x="1816" y="239"/>
                  </a:lnTo>
                  <a:lnTo>
                    <a:pt x="1788" y="262"/>
                  </a:lnTo>
                  <a:lnTo>
                    <a:pt x="1764" y="291"/>
                  </a:lnTo>
                  <a:lnTo>
                    <a:pt x="1745" y="323"/>
                  </a:lnTo>
                  <a:lnTo>
                    <a:pt x="1729" y="357"/>
                  </a:lnTo>
                  <a:lnTo>
                    <a:pt x="1721" y="394"/>
                  </a:lnTo>
                  <a:lnTo>
                    <a:pt x="1717" y="433"/>
                  </a:lnTo>
                  <a:lnTo>
                    <a:pt x="1717" y="1431"/>
                  </a:lnTo>
                  <a:lnTo>
                    <a:pt x="1721" y="1470"/>
                  </a:lnTo>
                  <a:lnTo>
                    <a:pt x="1729" y="1508"/>
                  </a:lnTo>
                  <a:lnTo>
                    <a:pt x="1745" y="1542"/>
                  </a:lnTo>
                  <a:lnTo>
                    <a:pt x="1764" y="1574"/>
                  </a:lnTo>
                  <a:lnTo>
                    <a:pt x="1788" y="1601"/>
                  </a:lnTo>
                  <a:lnTo>
                    <a:pt x="1816" y="1626"/>
                  </a:lnTo>
                  <a:lnTo>
                    <a:pt x="1848" y="1645"/>
                  </a:lnTo>
                  <a:lnTo>
                    <a:pt x="1882" y="1660"/>
                  </a:lnTo>
                  <a:lnTo>
                    <a:pt x="1919" y="1669"/>
                  </a:lnTo>
                  <a:lnTo>
                    <a:pt x="1958" y="1672"/>
                  </a:lnTo>
                  <a:lnTo>
                    <a:pt x="2151" y="1672"/>
                  </a:lnTo>
                  <a:lnTo>
                    <a:pt x="2177" y="1676"/>
                  </a:lnTo>
                  <a:lnTo>
                    <a:pt x="2200" y="1685"/>
                  </a:lnTo>
                  <a:lnTo>
                    <a:pt x="2220" y="1701"/>
                  </a:lnTo>
                  <a:lnTo>
                    <a:pt x="2234" y="1720"/>
                  </a:lnTo>
                  <a:lnTo>
                    <a:pt x="2243" y="1743"/>
                  </a:lnTo>
                  <a:lnTo>
                    <a:pt x="2247" y="1768"/>
                  </a:lnTo>
                  <a:lnTo>
                    <a:pt x="2247" y="2037"/>
                  </a:lnTo>
                  <a:lnTo>
                    <a:pt x="2730" y="1690"/>
                  </a:lnTo>
                  <a:lnTo>
                    <a:pt x="2748" y="1681"/>
                  </a:lnTo>
                  <a:lnTo>
                    <a:pt x="2767" y="1675"/>
                  </a:lnTo>
                  <a:lnTo>
                    <a:pt x="2787" y="1672"/>
                  </a:lnTo>
                  <a:lnTo>
                    <a:pt x="3142" y="1672"/>
                  </a:lnTo>
                  <a:lnTo>
                    <a:pt x="3182" y="1669"/>
                  </a:lnTo>
                  <a:lnTo>
                    <a:pt x="3218" y="1660"/>
                  </a:lnTo>
                  <a:lnTo>
                    <a:pt x="3254" y="1645"/>
                  </a:lnTo>
                  <a:lnTo>
                    <a:pt x="3285" y="1626"/>
                  </a:lnTo>
                  <a:lnTo>
                    <a:pt x="3313" y="1601"/>
                  </a:lnTo>
                  <a:lnTo>
                    <a:pt x="3337" y="1574"/>
                  </a:lnTo>
                  <a:lnTo>
                    <a:pt x="3357" y="1542"/>
                  </a:lnTo>
                  <a:lnTo>
                    <a:pt x="3371" y="1508"/>
                  </a:lnTo>
                  <a:lnTo>
                    <a:pt x="3381" y="1470"/>
                  </a:lnTo>
                  <a:lnTo>
                    <a:pt x="3384" y="1431"/>
                  </a:lnTo>
                  <a:lnTo>
                    <a:pt x="3384" y="433"/>
                  </a:lnTo>
                  <a:lnTo>
                    <a:pt x="3381" y="394"/>
                  </a:lnTo>
                  <a:lnTo>
                    <a:pt x="3371" y="357"/>
                  </a:lnTo>
                  <a:lnTo>
                    <a:pt x="3357" y="323"/>
                  </a:lnTo>
                  <a:lnTo>
                    <a:pt x="3337" y="291"/>
                  </a:lnTo>
                  <a:lnTo>
                    <a:pt x="3313" y="262"/>
                  </a:lnTo>
                  <a:lnTo>
                    <a:pt x="3285" y="239"/>
                  </a:lnTo>
                  <a:lnTo>
                    <a:pt x="3254" y="219"/>
                  </a:lnTo>
                  <a:lnTo>
                    <a:pt x="3218" y="204"/>
                  </a:lnTo>
                  <a:lnTo>
                    <a:pt x="3182" y="195"/>
                  </a:lnTo>
                  <a:lnTo>
                    <a:pt x="3142" y="191"/>
                  </a:lnTo>
                  <a:lnTo>
                    <a:pt x="1958" y="191"/>
                  </a:lnTo>
                  <a:close/>
                  <a:moveTo>
                    <a:pt x="1958" y="0"/>
                  </a:moveTo>
                  <a:lnTo>
                    <a:pt x="3142" y="0"/>
                  </a:lnTo>
                  <a:lnTo>
                    <a:pt x="3197" y="4"/>
                  </a:lnTo>
                  <a:lnTo>
                    <a:pt x="3249" y="13"/>
                  </a:lnTo>
                  <a:lnTo>
                    <a:pt x="3299" y="30"/>
                  </a:lnTo>
                  <a:lnTo>
                    <a:pt x="3346" y="51"/>
                  </a:lnTo>
                  <a:lnTo>
                    <a:pt x="3390" y="78"/>
                  </a:lnTo>
                  <a:lnTo>
                    <a:pt x="3430" y="110"/>
                  </a:lnTo>
                  <a:lnTo>
                    <a:pt x="3467" y="145"/>
                  </a:lnTo>
                  <a:lnTo>
                    <a:pt x="3498" y="186"/>
                  </a:lnTo>
                  <a:lnTo>
                    <a:pt x="3525" y="229"/>
                  </a:lnTo>
                  <a:lnTo>
                    <a:pt x="3546" y="277"/>
                  </a:lnTo>
                  <a:lnTo>
                    <a:pt x="3563" y="326"/>
                  </a:lnTo>
                  <a:lnTo>
                    <a:pt x="3572" y="378"/>
                  </a:lnTo>
                  <a:lnTo>
                    <a:pt x="3576" y="433"/>
                  </a:lnTo>
                  <a:lnTo>
                    <a:pt x="3576" y="1431"/>
                  </a:lnTo>
                  <a:lnTo>
                    <a:pt x="3572" y="1486"/>
                  </a:lnTo>
                  <a:lnTo>
                    <a:pt x="3563" y="1538"/>
                  </a:lnTo>
                  <a:lnTo>
                    <a:pt x="3546" y="1587"/>
                  </a:lnTo>
                  <a:lnTo>
                    <a:pt x="3525" y="1634"/>
                  </a:lnTo>
                  <a:lnTo>
                    <a:pt x="3498" y="1678"/>
                  </a:lnTo>
                  <a:lnTo>
                    <a:pt x="3467" y="1718"/>
                  </a:lnTo>
                  <a:lnTo>
                    <a:pt x="3430" y="1755"/>
                  </a:lnTo>
                  <a:lnTo>
                    <a:pt x="3390" y="1787"/>
                  </a:lnTo>
                  <a:lnTo>
                    <a:pt x="3346" y="1813"/>
                  </a:lnTo>
                  <a:lnTo>
                    <a:pt x="3299" y="1835"/>
                  </a:lnTo>
                  <a:lnTo>
                    <a:pt x="3249" y="1851"/>
                  </a:lnTo>
                  <a:lnTo>
                    <a:pt x="3197" y="1860"/>
                  </a:lnTo>
                  <a:lnTo>
                    <a:pt x="3142" y="1864"/>
                  </a:lnTo>
                  <a:lnTo>
                    <a:pt x="2818" y="1864"/>
                  </a:lnTo>
                  <a:lnTo>
                    <a:pt x="2635" y="1995"/>
                  </a:lnTo>
                  <a:lnTo>
                    <a:pt x="2657" y="2060"/>
                  </a:lnTo>
                  <a:lnTo>
                    <a:pt x="2676" y="2126"/>
                  </a:lnTo>
                  <a:lnTo>
                    <a:pt x="2843" y="2126"/>
                  </a:lnTo>
                  <a:lnTo>
                    <a:pt x="2869" y="2130"/>
                  </a:lnTo>
                  <a:lnTo>
                    <a:pt x="2891" y="2139"/>
                  </a:lnTo>
                  <a:lnTo>
                    <a:pt x="2911" y="2154"/>
                  </a:lnTo>
                  <a:lnTo>
                    <a:pt x="2926" y="2173"/>
                  </a:lnTo>
                  <a:lnTo>
                    <a:pt x="2936" y="2197"/>
                  </a:lnTo>
                  <a:lnTo>
                    <a:pt x="2940" y="2222"/>
                  </a:lnTo>
                  <a:lnTo>
                    <a:pt x="2940" y="2613"/>
                  </a:lnTo>
                  <a:lnTo>
                    <a:pt x="2936" y="2639"/>
                  </a:lnTo>
                  <a:lnTo>
                    <a:pt x="2926" y="2661"/>
                  </a:lnTo>
                  <a:lnTo>
                    <a:pt x="2911" y="2682"/>
                  </a:lnTo>
                  <a:lnTo>
                    <a:pt x="2891" y="2697"/>
                  </a:lnTo>
                  <a:lnTo>
                    <a:pt x="2869" y="2706"/>
                  </a:lnTo>
                  <a:lnTo>
                    <a:pt x="2843" y="2710"/>
                  </a:lnTo>
                  <a:lnTo>
                    <a:pt x="2676" y="2710"/>
                  </a:lnTo>
                  <a:lnTo>
                    <a:pt x="2656" y="2783"/>
                  </a:lnTo>
                  <a:lnTo>
                    <a:pt x="2631" y="2856"/>
                  </a:lnTo>
                  <a:lnTo>
                    <a:pt x="2601" y="2926"/>
                  </a:lnTo>
                  <a:lnTo>
                    <a:pt x="2567" y="2995"/>
                  </a:lnTo>
                  <a:lnTo>
                    <a:pt x="2529" y="3062"/>
                  </a:lnTo>
                  <a:lnTo>
                    <a:pt x="2647" y="3180"/>
                  </a:lnTo>
                  <a:lnTo>
                    <a:pt x="2659" y="3196"/>
                  </a:lnTo>
                  <a:lnTo>
                    <a:pt x="2669" y="3212"/>
                  </a:lnTo>
                  <a:lnTo>
                    <a:pt x="2673" y="3230"/>
                  </a:lnTo>
                  <a:lnTo>
                    <a:pt x="2676" y="3249"/>
                  </a:lnTo>
                  <a:lnTo>
                    <a:pt x="2672" y="3274"/>
                  </a:lnTo>
                  <a:lnTo>
                    <a:pt x="2663" y="3296"/>
                  </a:lnTo>
                  <a:lnTo>
                    <a:pt x="2647" y="3316"/>
                  </a:lnTo>
                  <a:lnTo>
                    <a:pt x="2370" y="3593"/>
                  </a:lnTo>
                  <a:lnTo>
                    <a:pt x="2352" y="3607"/>
                  </a:lnTo>
                  <a:lnTo>
                    <a:pt x="2333" y="3616"/>
                  </a:lnTo>
                  <a:lnTo>
                    <a:pt x="2313" y="3620"/>
                  </a:lnTo>
                  <a:lnTo>
                    <a:pt x="2292" y="3620"/>
                  </a:lnTo>
                  <a:lnTo>
                    <a:pt x="2271" y="3616"/>
                  </a:lnTo>
                  <a:lnTo>
                    <a:pt x="2252" y="3607"/>
                  </a:lnTo>
                  <a:lnTo>
                    <a:pt x="2234" y="3593"/>
                  </a:lnTo>
                  <a:lnTo>
                    <a:pt x="2115" y="3475"/>
                  </a:lnTo>
                  <a:lnTo>
                    <a:pt x="2049" y="3512"/>
                  </a:lnTo>
                  <a:lnTo>
                    <a:pt x="1979" y="3547"/>
                  </a:lnTo>
                  <a:lnTo>
                    <a:pt x="1909" y="3576"/>
                  </a:lnTo>
                  <a:lnTo>
                    <a:pt x="1836" y="3601"/>
                  </a:lnTo>
                  <a:lnTo>
                    <a:pt x="1762" y="3621"/>
                  </a:lnTo>
                  <a:lnTo>
                    <a:pt x="1762" y="3788"/>
                  </a:lnTo>
                  <a:lnTo>
                    <a:pt x="1759" y="3814"/>
                  </a:lnTo>
                  <a:lnTo>
                    <a:pt x="1749" y="3836"/>
                  </a:lnTo>
                  <a:lnTo>
                    <a:pt x="1734" y="3856"/>
                  </a:lnTo>
                  <a:lnTo>
                    <a:pt x="1714" y="3870"/>
                  </a:lnTo>
                  <a:lnTo>
                    <a:pt x="1691" y="3881"/>
                  </a:lnTo>
                  <a:lnTo>
                    <a:pt x="1666" y="3883"/>
                  </a:lnTo>
                  <a:lnTo>
                    <a:pt x="1273" y="3883"/>
                  </a:lnTo>
                  <a:lnTo>
                    <a:pt x="1248" y="3881"/>
                  </a:lnTo>
                  <a:lnTo>
                    <a:pt x="1225" y="3870"/>
                  </a:lnTo>
                  <a:lnTo>
                    <a:pt x="1206" y="3856"/>
                  </a:lnTo>
                  <a:lnTo>
                    <a:pt x="1190" y="3836"/>
                  </a:lnTo>
                  <a:lnTo>
                    <a:pt x="1181" y="3814"/>
                  </a:lnTo>
                  <a:lnTo>
                    <a:pt x="1177" y="3788"/>
                  </a:lnTo>
                  <a:lnTo>
                    <a:pt x="1177" y="3621"/>
                  </a:lnTo>
                  <a:lnTo>
                    <a:pt x="1103" y="3601"/>
                  </a:lnTo>
                  <a:lnTo>
                    <a:pt x="1030" y="3576"/>
                  </a:lnTo>
                  <a:lnTo>
                    <a:pt x="959" y="3547"/>
                  </a:lnTo>
                  <a:lnTo>
                    <a:pt x="891" y="3512"/>
                  </a:lnTo>
                  <a:lnTo>
                    <a:pt x="824" y="3475"/>
                  </a:lnTo>
                  <a:lnTo>
                    <a:pt x="705" y="3593"/>
                  </a:lnTo>
                  <a:lnTo>
                    <a:pt x="688" y="3607"/>
                  </a:lnTo>
                  <a:lnTo>
                    <a:pt x="668" y="3616"/>
                  </a:lnTo>
                  <a:lnTo>
                    <a:pt x="648" y="3620"/>
                  </a:lnTo>
                  <a:lnTo>
                    <a:pt x="626" y="3620"/>
                  </a:lnTo>
                  <a:lnTo>
                    <a:pt x="606" y="3616"/>
                  </a:lnTo>
                  <a:lnTo>
                    <a:pt x="586" y="3607"/>
                  </a:lnTo>
                  <a:lnTo>
                    <a:pt x="570" y="3593"/>
                  </a:lnTo>
                  <a:lnTo>
                    <a:pt x="291" y="3316"/>
                  </a:lnTo>
                  <a:lnTo>
                    <a:pt x="278" y="3298"/>
                  </a:lnTo>
                  <a:lnTo>
                    <a:pt x="269" y="3280"/>
                  </a:lnTo>
                  <a:lnTo>
                    <a:pt x="264" y="3258"/>
                  </a:lnTo>
                  <a:lnTo>
                    <a:pt x="264" y="3238"/>
                  </a:lnTo>
                  <a:lnTo>
                    <a:pt x="269" y="3217"/>
                  </a:lnTo>
                  <a:lnTo>
                    <a:pt x="278" y="3198"/>
                  </a:lnTo>
                  <a:lnTo>
                    <a:pt x="291" y="3180"/>
                  </a:lnTo>
                  <a:lnTo>
                    <a:pt x="411" y="3062"/>
                  </a:lnTo>
                  <a:lnTo>
                    <a:pt x="372" y="2995"/>
                  </a:lnTo>
                  <a:lnTo>
                    <a:pt x="339" y="2926"/>
                  </a:lnTo>
                  <a:lnTo>
                    <a:pt x="309" y="2856"/>
                  </a:lnTo>
                  <a:lnTo>
                    <a:pt x="284" y="2783"/>
                  </a:lnTo>
                  <a:lnTo>
                    <a:pt x="264" y="2710"/>
                  </a:lnTo>
                  <a:lnTo>
                    <a:pt x="96" y="2710"/>
                  </a:lnTo>
                  <a:lnTo>
                    <a:pt x="71" y="2706"/>
                  </a:lnTo>
                  <a:lnTo>
                    <a:pt x="47" y="2697"/>
                  </a:lnTo>
                  <a:lnTo>
                    <a:pt x="28" y="2682"/>
                  </a:lnTo>
                  <a:lnTo>
                    <a:pt x="13" y="2661"/>
                  </a:lnTo>
                  <a:lnTo>
                    <a:pt x="3" y="2639"/>
                  </a:lnTo>
                  <a:lnTo>
                    <a:pt x="0" y="2613"/>
                  </a:lnTo>
                  <a:lnTo>
                    <a:pt x="0" y="2222"/>
                  </a:lnTo>
                  <a:lnTo>
                    <a:pt x="3" y="2197"/>
                  </a:lnTo>
                  <a:lnTo>
                    <a:pt x="13" y="2173"/>
                  </a:lnTo>
                  <a:lnTo>
                    <a:pt x="28" y="2154"/>
                  </a:lnTo>
                  <a:lnTo>
                    <a:pt x="47" y="2139"/>
                  </a:lnTo>
                  <a:lnTo>
                    <a:pt x="71" y="2130"/>
                  </a:lnTo>
                  <a:lnTo>
                    <a:pt x="96" y="2126"/>
                  </a:lnTo>
                  <a:lnTo>
                    <a:pt x="264" y="2126"/>
                  </a:lnTo>
                  <a:lnTo>
                    <a:pt x="284" y="2052"/>
                  </a:lnTo>
                  <a:lnTo>
                    <a:pt x="309" y="1980"/>
                  </a:lnTo>
                  <a:lnTo>
                    <a:pt x="339" y="1909"/>
                  </a:lnTo>
                  <a:lnTo>
                    <a:pt x="372" y="1840"/>
                  </a:lnTo>
                  <a:lnTo>
                    <a:pt x="411" y="1774"/>
                  </a:lnTo>
                  <a:lnTo>
                    <a:pt x="291" y="1655"/>
                  </a:lnTo>
                  <a:lnTo>
                    <a:pt x="279" y="1640"/>
                  </a:lnTo>
                  <a:lnTo>
                    <a:pt x="271" y="1624"/>
                  </a:lnTo>
                  <a:lnTo>
                    <a:pt x="265" y="1606"/>
                  </a:lnTo>
                  <a:lnTo>
                    <a:pt x="264" y="1587"/>
                  </a:lnTo>
                  <a:lnTo>
                    <a:pt x="265" y="1568"/>
                  </a:lnTo>
                  <a:lnTo>
                    <a:pt x="271" y="1551"/>
                  </a:lnTo>
                  <a:lnTo>
                    <a:pt x="279" y="1534"/>
                  </a:lnTo>
                  <a:lnTo>
                    <a:pt x="291" y="1520"/>
                  </a:lnTo>
                  <a:lnTo>
                    <a:pt x="570" y="1242"/>
                  </a:lnTo>
                  <a:lnTo>
                    <a:pt x="586" y="1229"/>
                  </a:lnTo>
                  <a:lnTo>
                    <a:pt x="606" y="1220"/>
                  </a:lnTo>
                  <a:lnTo>
                    <a:pt x="626" y="1215"/>
                  </a:lnTo>
                  <a:lnTo>
                    <a:pt x="648" y="1215"/>
                  </a:lnTo>
                  <a:lnTo>
                    <a:pt x="668" y="1220"/>
                  </a:lnTo>
                  <a:lnTo>
                    <a:pt x="688" y="1229"/>
                  </a:lnTo>
                  <a:lnTo>
                    <a:pt x="705" y="1242"/>
                  </a:lnTo>
                  <a:lnTo>
                    <a:pt x="824" y="1361"/>
                  </a:lnTo>
                  <a:lnTo>
                    <a:pt x="891" y="1322"/>
                  </a:lnTo>
                  <a:lnTo>
                    <a:pt x="959" y="1289"/>
                  </a:lnTo>
                  <a:lnTo>
                    <a:pt x="1030" y="1260"/>
                  </a:lnTo>
                  <a:lnTo>
                    <a:pt x="1103" y="1235"/>
                  </a:lnTo>
                  <a:lnTo>
                    <a:pt x="1177" y="1215"/>
                  </a:lnTo>
                  <a:lnTo>
                    <a:pt x="1177" y="1047"/>
                  </a:lnTo>
                  <a:lnTo>
                    <a:pt x="1181" y="1022"/>
                  </a:lnTo>
                  <a:lnTo>
                    <a:pt x="1190" y="999"/>
                  </a:lnTo>
                  <a:lnTo>
                    <a:pt x="1206" y="980"/>
                  </a:lnTo>
                  <a:lnTo>
                    <a:pt x="1225" y="964"/>
                  </a:lnTo>
                  <a:lnTo>
                    <a:pt x="1248" y="955"/>
                  </a:lnTo>
                  <a:lnTo>
                    <a:pt x="1273" y="951"/>
                  </a:lnTo>
                  <a:lnTo>
                    <a:pt x="1526" y="951"/>
                  </a:lnTo>
                  <a:lnTo>
                    <a:pt x="1526" y="433"/>
                  </a:lnTo>
                  <a:lnTo>
                    <a:pt x="1529" y="378"/>
                  </a:lnTo>
                  <a:lnTo>
                    <a:pt x="1539" y="326"/>
                  </a:lnTo>
                  <a:lnTo>
                    <a:pt x="1554" y="277"/>
                  </a:lnTo>
                  <a:lnTo>
                    <a:pt x="1576" y="229"/>
                  </a:lnTo>
                  <a:lnTo>
                    <a:pt x="1603" y="186"/>
                  </a:lnTo>
                  <a:lnTo>
                    <a:pt x="1634" y="145"/>
                  </a:lnTo>
                  <a:lnTo>
                    <a:pt x="1671" y="110"/>
                  </a:lnTo>
                  <a:lnTo>
                    <a:pt x="1711" y="78"/>
                  </a:lnTo>
                  <a:lnTo>
                    <a:pt x="1755" y="51"/>
                  </a:lnTo>
                  <a:lnTo>
                    <a:pt x="1802" y="30"/>
                  </a:lnTo>
                  <a:lnTo>
                    <a:pt x="1851" y="13"/>
                  </a:lnTo>
                  <a:lnTo>
                    <a:pt x="1905" y="4"/>
                  </a:lnTo>
                  <a:lnTo>
                    <a:pt x="195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" name="Google Shape;612;p35"/>
            <p:cNvSpPr/>
            <p:nvPr/>
          </p:nvSpPr>
          <p:spPr>
            <a:xfrm>
              <a:off x="4011" y="1343"/>
              <a:ext cx="402" cy="477"/>
            </a:xfrm>
            <a:custGeom>
              <a:avLst/>
              <a:gdLst/>
              <a:ahLst/>
              <a:cxnLst/>
              <a:rect l="l" t="t" r="r" b="b"/>
              <a:pathLst>
                <a:path w="803" h="953" extrusionOk="0">
                  <a:moveTo>
                    <a:pt x="401" y="0"/>
                  </a:moveTo>
                  <a:lnTo>
                    <a:pt x="456" y="3"/>
                  </a:lnTo>
                  <a:lnTo>
                    <a:pt x="508" y="14"/>
                  </a:lnTo>
                  <a:lnTo>
                    <a:pt x="558" y="30"/>
                  </a:lnTo>
                  <a:lnTo>
                    <a:pt x="604" y="54"/>
                  </a:lnTo>
                  <a:lnTo>
                    <a:pt x="647" y="82"/>
                  </a:lnTo>
                  <a:lnTo>
                    <a:pt x="686" y="117"/>
                  </a:lnTo>
                  <a:lnTo>
                    <a:pt x="720" y="156"/>
                  </a:lnTo>
                  <a:lnTo>
                    <a:pt x="749" y="198"/>
                  </a:lnTo>
                  <a:lnTo>
                    <a:pt x="772" y="244"/>
                  </a:lnTo>
                  <a:lnTo>
                    <a:pt x="789" y="294"/>
                  </a:lnTo>
                  <a:lnTo>
                    <a:pt x="799" y="346"/>
                  </a:lnTo>
                  <a:lnTo>
                    <a:pt x="803" y="400"/>
                  </a:lnTo>
                  <a:lnTo>
                    <a:pt x="799" y="449"/>
                  </a:lnTo>
                  <a:lnTo>
                    <a:pt x="790" y="496"/>
                  </a:lnTo>
                  <a:lnTo>
                    <a:pt x="773" y="542"/>
                  </a:lnTo>
                  <a:lnTo>
                    <a:pt x="753" y="587"/>
                  </a:lnTo>
                  <a:lnTo>
                    <a:pt x="727" y="632"/>
                  </a:lnTo>
                  <a:lnTo>
                    <a:pt x="699" y="674"/>
                  </a:lnTo>
                  <a:lnTo>
                    <a:pt x="668" y="715"/>
                  </a:lnTo>
                  <a:lnTo>
                    <a:pt x="635" y="755"/>
                  </a:lnTo>
                  <a:lnTo>
                    <a:pt x="600" y="793"/>
                  </a:lnTo>
                  <a:lnTo>
                    <a:pt x="565" y="829"/>
                  </a:lnTo>
                  <a:lnTo>
                    <a:pt x="532" y="863"/>
                  </a:lnTo>
                  <a:lnTo>
                    <a:pt x="499" y="897"/>
                  </a:lnTo>
                  <a:lnTo>
                    <a:pt x="470" y="925"/>
                  </a:lnTo>
                  <a:lnTo>
                    <a:pt x="455" y="937"/>
                  </a:lnTo>
                  <a:lnTo>
                    <a:pt x="438" y="946"/>
                  </a:lnTo>
                  <a:lnTo>
                    <a:pt x="420" y="951"/>
                  </a:lnTo>
                  <a:lnTo>
                    <a:pt x="401" y="953"/>
                  </a:lnTo>
                  <a:lnTo>
                    <a:pt x="384" y="951"/>
                  </a:lnTo>
                  <a:lnTo>
                    <a:pt x="366" y="946"/>
                  </a:lnTo>
                  <a:lnTo>
                    <a:pt x="349" y="937"/>
                  </a:lnTo>
                  <a:lnTo>
                    <a:pt x="334" y="925"/>
                  </a:lnTo>
                  <a:lnTo>
                    <a:pt x="320" y="907"/>
                  </a:lnTo>
                  <a:lnTo>
                    <a:pt x="310" y="888"/>
                  </a:lnTo>
                  <a:lnTo>
                    <a:pt x="307" y="868"/>
                  </a:lnTo>
                  <a:lnTo>
                    <a:pt x="307" y="847"/>
                  </a:lnTo>
                  <a:lnTo>
                    <a:pt x="310" y="826"/>
                  </a:lnTo>
                  <a:lnTo>
                    <a:pt x="320" y="807"/>
                  </a:lnTo>
                  <a:lnTo>
                    <a:pt x="334" y="789"/>
                  </a:lnTo>
                  <a:lnTo>
                    <a:pt x="362" y="761"/>
                  </a:lnTo>
                  <a:lnTo>
                    <a:pt x="391" y="732"/>
                  </a:lnTo>
                  <a:lnTo>
                    <a:pt x="420" y="703"/>
                  </a:lnTo>
                  <a:lnTo>
                    <a:pt x="451" y="671"/>
                  </a:lnTo>
                  <a:lnTo>
                    <a:pt x="481" y="638"/>
                  </a:lnTo>
                  <a:lnTo>
                    <a:pt x="510" y="605"/>
                  </a:lnTo>
                  <a:lnTo>
                    <a:pt x="538" y="569"/>
                  </a:lnTo>
                  <a:lnTo>
                    <a:pt x="561" y="535"/>
                  </a:lnTo>
                  <a:lnTo>
                    <a:pt x="582" y="499"/>
                  </a:lnTo>
                  <a:lnTo>
                    <a:pt x="598" y="465"/>
                  </a:lnTo>
                  <a:lnTo>
                    <a:pt x="608" y="432"/>
                  </a:lnTo>
                  <a:lnTo>
                    <a:pt x="611" y="400"/>
                  </a:lnTo>
                  <a:lnTo>
                    <a:pt x="608" y="362"/>
                  </a:lnTo>
                  <a:lnTo>
                    <a:pt x="598" y="327"/>
                  </a:lnTo>
                  <a:lnTo>
                    <a:pt x="583" y="295"/>
                  </a:lnTo>
                  <a:lnTo>
                    <a:pt x="561" y="265"/>
                  </a:lnTo>
                  <a:lnTo>
                    <a:pt x="537" y="241"/>
                  </a:lnTo>
                  <a:lnTo>
                    <a:pt x="507" y="219"/>
                  </a:lnTo>
                  <a:lnTo>
                    <a:pt x="475" y="204"/>
                  </a:lnTo>
                  <a:lnTo>
                    <a:pt x="439" y="195"/>
                  </a:lnTo>
                  <a:lnTo>
                    <a:pt x="401" y="191"/>
                  </a:lnTo>
                  <a:lnTo>
                    <a:pt x="365" y="195"/>
                  </a:lnTo>
                  <a:lnTo>
                    <a:pt x="329" y="204"/>
                  </a:lnTo>
                  <a:lnTo>
                    <a:pt x="296" y="219"/>
                  </a:lnTo>
                  <a:lnTo>
                    <a:pt x="266" y="241"/>
                  </a:lnTo>
                  <a:lnTo>
                    <a:pt x="242" y="265"/>
                  </a:lnTo>
                  <a:lnTo>
                    <a:pt x="221" y="295"/>
                  </a:lnTo>
                  <a:lnTo>
                    <a:pt x="206" y="327"/>
                  </a:lnTo>
                  <a:lnTo>
                    <a:pt x="195" y="362"/>
                  </a:lnTo>
                  <a:lnTo>
                    <a:pt x="192" y="400"/>
                  </a:lnTo>
                  <a:lnTo>
                    <a:pt x="189" y="425"/>
                  </a:lnTo>
                  <a:lnTo>
                    <a:pt x="179" y="449"/>
                  </a:lnTo>
                  <a:lnTo>
                    <a:pt x="165" y="468"/>
                  </a:lnTo>
                  <a:lnTo>
                    <a:pt x="144" y="483"/>
                  </a:lnTo>
                  <a:lnTo>
                    <a:pt x="122" y="492"/>
                  </a:lnTo>
                  <a:lnTo>
                    <a:pt x="96" y="496"/>
                  </a:lnTo>
                  <a:lnTo>
                    <a:pt x="71" y="492"/>
                  </a:lnTo>
                  <a:lnTo>
                    <a:pt x="47" y="483"/>
                  </a:lnTo>
                  <a:lnTo>
                    <a:pt x="28" y="468"/>
                  </a:lnTo>
                  <a:lnTo>
                    <a:pt x="13" y="449"/>
                  </a:lnTo>
                  <a:lnTo>
                    <a:pt x="3" y="425"/>
                  </a:lnTo>
                  <a:lnTo>
                    <a:pt x="0" y="400"/>
                  </a:lnTo>
                  <a:lnTo>
                    <a:pt x="3" y="346"/>
                  </a:lnTo>
                  <a:lnTo>
                    <a:pt x="14" y="294"/>
                  </a:lnTo>
                  <a:lnTo>
                    <a:pt x="32" y="244"/>
                  </a:lnTo>
                  <a:lnTo>
                    <a:pt x="56" y="198"/>
                  </a:lnTo>
                  <a:lnTo>
                    <a:pt x="84" y="156"/>
                  </a:lnTo>
                  <a:lnTo>
                    <a:pt x="118" y="117"/>
                  </a:lnTo>
                  <a:lnTo>
                    <a:pt x="156" y="82"/>
                  </a:lnTo>
                  <a:lnTo>
                    <a:pt x="199" y="54"/>
                  </a:lnTo>
                  <a:lnTo>
                    <a:pt x="245" y="30"/>
                  </a:lnTo>
                  <a:lnTo>
                    <a:pt x="295" y="14"/>
                  </a:lnTo>
                  <a:lnTo>
                    <a:pt x="347" y="3"/>
                  </a:lnTo>
                  <a:lnTo>
                    <a:pt x="40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Google Shape;613;p35"/>
            <p:cNvSpPr/>
            <p:nvPr/>
          </p:nvSpPr>
          <p:spPr>
            <a:xfrm>
              <a:off x="4141" y="1861"/>
              <a:ext cx="115" cy="115"/>
            </a:xfrm>
            <a:custGeom>
              <a:avLst/>
              <a:gdLst/>
              <a:ahLst/>
              <a:cxnLst/>
              <a:rect l="l" t="t" r="r" b="b"/>
              <a:pathLst>
                <a:path w="231" h="230" extrusionOk="0">
                  <a:moveTo>
                    <a:pt x="116" y="0"/>
                  </a:moveTo>
                  <a:lnTo>
                    <a:pt x="139" y="2"/>
                  </a:lnTo>
                  <a:lnTo>
                    <a:pt x="160" y="9"/>
                  </a:lnTo>
                  <a:lnTo>
                    <a:pt x="180" y="20"/>
                  </a:lnTo>
                  <a:lnTo>
                    <a:pt x="198" y="34"/>
                  </a:lnTo>
                  <a:lnTo>
                    <a:pt x="212" y="51"/>
                  </a:lnTo>
                  <a:lnTo>
                    <a:pt x="223" y="71"/>
                  </a:lnTo>
                  <a:lnTo>
                    <a:pt x="229" y="93"/>
                  </a:lnTo>
                  <a:lnTo>
                    <a:pt x="231" y="116"/>
                  </a:lnTo>
                  <a:lnTo>
                    <a:pt x="229" y="138"/>
                  </a:lnTo>
                  <a:lnTo>
                    <a:pt x="223" y="160"/>
                  </a:lnTo>
                  <a:lnTo>
                    <a:pt x="212" y="180"/>
                  </a:lnTo>
                  <a:lnTo>
                    <a:pt x="198" y="196"/>
                  </a:lnTo>
                  <a:lnTo>
                    <a:pt x="180" y="212"/>
                  </a:lnTo>
                  <a:lnTo>
                    <a:pt x="160" y="221"/>
                  </a:lnTo>
                  <a:lnTo>
                    <a:pt x="139" y="228"/>
                  </a:lnTo>
                  <a:lnTo>
                    <a:pt x="116" y="230"/>
                  </a:lnTo>
                  <a:lnTo>
                    <a:pt x="94" y="228"/>
                  </a:lnTo>
                  <a:lnTo>
                    <a:pt x="72" y="221"/>
                  </a:lnTo>
                  <a:lnTo>
                    <a:pt x="52" y="212"/>
                  </a:lnTo>
                  <a:lnTo>
                    <a:pt x="35" y="196"/>
                  </a:lnTo>
                  <a:lnTo>
                    <a:pt x="20" y="180"/>
                  </a:lnTo>
                  <a:lnTo>
                    <a:pt x="10" y="160"/>
                  </a:lnTo>
                  <a:lnTo>
                    <a:pt x="3" y="138"/>
                  </a:lnTo>
                  <a:lnTo>
                    <a:pt x="0" y="116"/>
                  </a:lnTo>
                  <a:lnTo>
                    <a:pt x="3" y="93"/>
                  </a:lnTo>
                  <a:lnTo>
                    <a:pt x="10" y="71"/>
                  </a:lnTo>
                  <a:lnTo>
                    <a:pt x="20" y="51"/>
                  </a:lnTo>
                  <a:lnTo>
                    <a:pt x="35" y="34"/>
                  </a:lnTo>
                  <a:lnTo>
                    <a:pt x="52" y="20"/>
                  </a:lnTo>
                  <a:lnTo>
                    <a:pt x="72" y="9"/>
                  </a:lnTo>
                  <a:lnTo>
                    <a:pt x="94" y="2"/>
                  </a:lnTo>
                  <a:lnTo>
                    <a:pt x="11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3000">
              <a:srgbClr val="003692"/>
            </a:gs>
            <a:gs pos="51000">
              <a:srgbClr val="006FB9"/>
            </a:gs>
            <a:gs pos="100000">
              <a:srgbClr val="0051A5"/>
            </a:gs>
          </a:gsLst>
          <a:path path="circle">
            <a:fillToRect r="100000" b="100000"/>
          </a:path>
          <a:tileRect l="-100000" t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36982803-9E9D-4E88-B89D-AE846D8FB630}"/>
              </a:ext>
            </a:extLst>
          </p:cNvPr>
          <p:cNvSpPr/>
          <p:nvPr/>
        </p:nvSpPr>
        <p:spPr>
          <a:xfrm flipV="1">
            <a:off x="8681" y="2617712"/>
            <a:ext cx="9549323" cy="34289"/>
          </a:xfrm>
          <a:prstGeom prst="rect">
            <a:avLst/>
          </a:prstGeom>
          <a:gradFill>
            <a:gsLst>
              <a:gs pos="3000">
                <a:schemeClr val="bg1"/>
              </a:gs>
              <a:gs pos="99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40">
              <a:buClrTx/>
            </a:pPr>
            <a:endParaRPr lang="en-US" sz="1800" kern="1200">
              <a:solidFill>
                <a:prstClr val="white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64E16148-AD47-4697-8565-75E344F1B208}"/>
              </a:ext>
            </a:extLst>
          </p:cNvPr>
          <p:cNvSpPr txBox="1"/>
          <p:nvPr/>
        </p:nvSpPr>
        <p:spPr>
          <a:xfrm>
            <a:off x="4171950" y="1773464"/>
            <a:ext cx="4914900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40">
              <a:buClrTx/>
            </a:pPr>
            <a:r>
              <a:rPr lang="en-US" sz="4950" b="1" kern="1200" dirty="0" smtClean="0">
                <a:solidFill>
                  <a:prstClr val="white">
                    <a:alpha val="49000"/>
                  </a:prst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CESS SELECTION</a:t>
            </a:r>
            <a:endParaRPr lang="en-US" sz="4950" b="1" kern="1200" dirty="0">
              <a:solidFill>
                <a:prstClr val="white">
                  <a:alpha val="49000"/>
                </a:prst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71E06802-AD2D-4BAD-97AA-A104B4379B83}"/>
              </a:ext>
            </a:extLst>
          </p:cNvPr>
          <p:cNvSpPr txBox="1"/>
          <p:nvPr/>
        </p:nvSpPr>
        <p:spPr>
          <a:xfrm>
            <a:off x="4229100" y="3315457"/>
            <a:ext cx="49149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40">
              <a:buClrTx/>
            </a:pPr>
            <a:r>
              <a:rPr lang="en-US" sz="2100" kern="1200" dirty="0" smtClean="0">
                <a:solidFill>
                  <a:prstClr val="white">
                    <a:alpha val="49000"/>
                  </a:prst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ATHERING</a:t>
            </a:r>
            <a:endParaRPr lang="en-US" sz="2100" kern="1200" dirty="0">
              <a:solidFill>
                <a:prstClr val="white">
                  <a:alpha val="49000"/>
                </a:prst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073236" y="12468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DISCOVERY</a:t>
            </a:r>
            <a:endParaRPr lang="en-US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320145" y="122842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OLUTIONING</a:t>
            </a:r>
            <a:endParaRPr lang="en-US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567054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IMPLEMENTATION</a:t>
            </a:r>
            <a:endParaRPr lang="en-US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7813963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OPERATIONS</a:t>
            </a:r>
            <a:endParaRPr lang="en-US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826327" y="122842"/>
            <a:ext cx="1246909" cy="259773"/>
          </a:xfrm>
          <a:prstGeom prst="rect">
            <a:avLst/>
          </a:prstGeom>
          <a:solidFill>
            <a:srgbClr val="FF0000">
              <a:lumMod val="60000"/>
              <a:lumOff val="4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EATION</a:t>
            </a:r>
          </a:p>
        </p:txBody>
      </p:sp>
      <p:pic>
        <p:nvPicPr>
          <p:cNvPr id="22530" name="Picture 2" descr="https://sc02.alicdn.com/kf/HTB1_O44IuuSBuNjy1Xcq6AYjFXaV/48638/HTB1_O44IuuSBuNjy1Xcq6AYjFXa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298" y="875979"/>
            <a:ext cx="3596129" cy="3596129"/>
          </a:xfrm>
          <a:prstGeom prst="roundRect">
            <a:avLst>
              <a:gd name="adj" fmla="val 8594"/>
            </a:avLst>
          </a:prstGeom>
          <a:solidFill>
            <a:srgbClr val="0068B4"/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</p:spTree>
    <p:extLst>
      <p:ext uri="{BB962C8B-B14F-4D97-AF65-F5344CB8AC3E}">
        <p14:creationId xmlns:p14="http://schemas.microsoft.com/office/powerpoint/2010/main" val="3943655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3" name="Google Shape;173;p27"/>
          <p:cNvGrpSpPr/>
          <p:nvPr/>
        </p:nvGrpSpPr>
        <p:grpSpPr>
          <a:xfrm>
            <a:off x="1169740" y="695325"/>
            <a:ext cx="3362325" cy="3752850"/>
            <a:chOff x="1333500" y="647700"/>
            <a:chExt cx="4483100" cy="5003800"/>
          </a:xfrm>
        </p:grpSpPr>
        <p:sp>
          <p:nvSpPr>
            <p:cNvPr id="174" name="Google Shape;174;p27"/>
            <p:cNvSpPr/>
            <p:nvPr/>
          </p:nvSpPr>
          <p:spPr>
            <a:xfrm>
              <a:off x="1333500" y="647700"/>
              <a:ext cx="4483100" cy="5003800"/>
            </a:xfrm>
            <a:prstGeom prst="roundRect">
              <a:avLst>
                <a:gd name="adj" fmla="val 3204"/>
              </a:avLst>
            </a:prstGeom>
            <a:solidFill>
              <a:schemeClr val="lt2"/>
            </a:solidFill>
            <a:ln>
              <a:noFill/>
            </a:ln>
            <a:effectLst>
              <a:outerShdw blurRad="241300" dist="127000" dir="4800000" algn="t" rotWithShape="0">
                <a:srgbClr val="000000">
                  <a:alpha val="23921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175;p27"/>
            <p:cNvSpPr/>
            <p:nvPr/>
          </p:nvSpPr>
          <p:spPr>
            <a:xfrm>
              <a:off x="1333500" y="2844798"/>
              <a:ext cx="4483100" cy="1103921"/>
            </a:xfrm>
            <a:prstGeom prst="rect">
              <a:avLst/>
            </a:prstGeom>
            <a:solidFill>
              <a:srgbClr val="1D6DB2"/>
            </a:soli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r>
                <a:rPr lang="en-US" sz="2400">
                  <a:solidFill>
                    <a:srgbClr val="FFFFFF"/>
                  </a:solidFill>
                </a:rPr>
                <a:t>   </a:t>
              </a:r>
              <a:endParaRPr sz="24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176" name="Google Shape;176;p27"/>
            <p:cNvCxnSpPr/>
            <p:nvPr/>
          </p:nvCxnSpPr>
          <p:spPr>
            <a:xfrm rot="10800000" flipH="1">
              <a:off x="1333500" y="5292727"/>
              <a:ext cx="4483100" cy="14892"/>
            </a:xfrm>
            <a:prstGeom prst="straightConnector1">
              <a:avLst/>
            </a:prstGeom>
            <a:noFill/>
            <a:ln w="9525" cap="flat" cmpd="sng">
              <a:solidFill>
                <a:schemeClr val="accent5">
                  <a:lumMod val="75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sp>
          <p:nvSpPr>
            <p:cNvPr id="177" name="Google Shape;177;p27"/>
            <p:cNvSpPr/>
            <p:nvPr/>
          </p:nvSpPr>
          <p:spPr>
            <a:xfrm>
              <a:off x="1567888" y="4006288"/>
              <a:ext cx="3644900" cy="92333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algn="just"/>
              <a:endParaRPr lang="en-US" sz="1200" dirty="0" smtClean="0">
                <a:solidFill>
                  <a:srgbClr val="595959"/>
                </a:solidFill>
              </a:endParaRPr>
            </a:p>
          </p:txBody>
        </p:sp>
        <p:grpSp>
          <p:nvGrpSpPr>
            <p:cNvPr id="178" name="Google Shape;178;p27"/>
            <p:cNvGrpSpPr/>
            <p:nvPr/>
          </p:nvGrpSpPr>
          <p:grpSpPr>
            <a:xfrm>
              <a:off x="1838108" y="3060476"/>
              <a:ext cx="3559265" cy="707886"/>
              <a:chOff x="1689099" y="3060476"/>
              <a:chExt cx="3559265" cy="707886"/>
            </a:xfrm>
          </p:grpSpPr>
          <p:sp>
            <p:nvSpPr>
              <p:cNvPr id="179" name="Google Shape;179;p27"/>
              <p:cNvSpPr/>
              <p:nvPr/>
            </p:nvSpPr>
            <p:spPr>
              <a:xfrm>
                <a:off x="1689099" y="3060476"/>
                <a:ext cx="774701" cy="70788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pPr algn="ctr"/>
                <a:r>
                  <a:rPr lang="en-US" sz="3000">
                    <a:solidFill>
                      <a:srgbClr val="E7E6E6"/>
                    </a:solidFill>
                  </a:rPr>
                  <a:t>01</a:t>
                </a:r>
                <a:endParaRPr sz="1050"/>
              </a:p>
            </p:txBody>
          </p:sp>
          <p:cxnSp>
            <p:nvCxnSpPr>
              <p:cNvPr id="180" name="Google Shape;180;p27"/>
              <p:cNvCxnSpPr/>
              <p:nvPr/>
            </p:nvCxnSpPr>
            <p:spPr>
              <a:xfrm>
                <a:off x="2476500" y="3104371"/>
                <a:ext cx="0" cy="584775"/>
              </a:xfrm>
              <a:prstGeom prst="straightConnector1">
                <a:avLst/>
              </a:prstGeom>
              <a:noFill/>
              <a:ln w="28575" cap="flat" cmpd="sng">
                <a:solidFill>
                  <a:schemeClr val="lt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181" name="Google Shape;181;p27"/>
              <p:cNvSpPr/>
              <p:nvPr/>
            </p:nvSpPr>
            <p:spPr>
              <a:xfrm>
                <a:off x="2541764" y="3091250"/>
                <a:ext cx="2706600" cy="6462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r>
                  <a:rPr lang="en-US" sz="2700" dirty="0" smtClean="0">
                    <a:solidFill>
                      <a:srgbClr val="FFFFFF"/>
                    </a:solidFill>
                  </a:rPr>
                  <a:t>Applications</a:t>
                </a:r>
                <a:endParaRPr sz="1050" dirty="0"/>
              </a:p>
            </p:txBody>
          </p:sp>
        </p:grpSp>
        <p:sp>
          <p:nvSpPr>
            <p:cNvPr id="182" name="Google Shape;182;p27"/>
            <p:cNvSpPr/>
            <p:nvPr/>
          </p:nvSpPr>
          <p:spPr>
            <a:xfrm>
              <a:off x="5296500" y="1715530"/>
              <a:ext cx="365760" cy="365760"/>
            </a:xfrm>
            <a:prstGeom prst="ellipse">
              <a:avLst/>
            </a:prstGeom>
            <a:solidFill>
              <a:schemeClr val="lt2"/>
            </a:solidFill>
            <a:ln w="38100" cap="flat" cmpd="sng">
              <a:solidFill>
                <a:schemeClr val="accent5">
                  <a:lumMod val="75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183;p27"/>
            <p:cNvSpPr/>
            <p:nvPr/>
          </p:nvSpPr>
          <p:spPr>
            <a:xfrm>
              <a:off x="5296500" y="4712227"/>
              <a:ext cx="365760" cy="365760"/>
            </a:xfrm>
            <a:prstGeom prst="ellipse">
              <a:avLst/>
            </a:prstGeom>
            <a:solidFill>
              <a:schemeClr val="lt2"/>
            </a:solidFill>
            <a:ln w="38100" cap="flat" cmpd="sng">
              <a:solidFill>
                <a:schemeClr val="accent5">
                  <a:lumMod val="75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84" name="Google Shape;184;p27"/>
          <p:cNvGrpSpPr/>
          <p:nvPr/>
        </p:nvGrpSpPr>
        <p:grpSpPr>
          <a:xfrm>
            <a:off x="4611935" y="695325"/>
            <a:ext cx="3362325" cy="3752850"/>
            <a:chOff x="6121400" y="647700"/>
            <a:chExt cx="4483100" cy="5003800"/>
          </a:xfrm>
        </p:grpSpPr>
        <p:sp>
          <p:nvSpPr>
            <p:cNvPr id="185" name="Google Shape;185;p27"/>
            <p:cNvSpPr/>
            <p:nvPr/>
          </p:nvSpPr>
          <p:spPr>
            <a:xfrm>
              <a:off x="6121400" y="647700"/>
              <a:ext cx="4483100" cy="5003800"/>
            </a:xfrm>
            <a:prstGeom prst="roundRect">
              <a:avLst>
                <a:gd name="adj" fmla="val 3204"/>
              </a:avLst>
            </a:prstGeom>
            <a:solidFill>
              <a:schemeClr val="lt2"/>
            </a:solidFill>
            <a:ln>
              <a:noFill/>
            </a:ln>
            <a:effectLst>
              <a:outerShdw blurRad="241300" dist="127000" dir="4800000" algn="t" rotWithShape="0">
                <a:srgbClr val="000000">
                  <a:alpha val="23921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186;p27"/>
            <p:cNvSpPr/>
            <p:nvPr/>
          </p:nvSpPr>
          <p:spPr>
            <a:xfrm>
              <a:off x="6121400" y="2844798"/>
              <a:ext cx="4483100" cy="110392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r>
                <a:rPr lang="en-US" sz="2400">
                  <a:solidFill>
                    <a:srgbClr val="FFFFFF"/>
                  </a:solidFill>
                </a:rPr>
                <a:t>   </a:t>
              </a:r>
              <a:endParaRPr sz="24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88" name="Google Shape;188;p27"/>
            <p:cNvGrpSpPr/>
            <p:nvPr/>
          </p:nvGrpSpPr>
          <p:grpSpPr>
            <a:xfrm>
              <a:off x="6626008" y="3060476"/>
              <a:ext cx="3779967" cy="707886"/>
              <a:chOff x="1689099" y="3060476"/>
              <a:chExt cx="3779967" cy="707886"/>
            </a:xfrm>
          </p:grpSpPr>
          <p:sp>
            <p:nvSpPr>
              <p:cNvPr id="189" name="Google Shape;189;p27"/>
              <p:cNvSpPr/>
              <p:nvPr/>
            </p:nvSpPr>
            <p:spPr>
              <a:xfrm>
                <a:off x="1689099" y="3060476"/>
                <a:ext cx="774701" cy="70788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pPr algn="ctr"/>
                <a:r>
                  <a:rPr lang="en-US" sz="3000">
                    <a:solidFill>
                      <a:srgbClr val="E7E6E6"/>
                    </a:solidFill>
                  </a:rPr>
                  <a:t>02</a:t>
                </a:r>
                <a:endParaRPr sz="1050"/>
              </a:p>
            </p:txBody>
          </p:sp>
          <p:cxnSp>
            <p:nvCxnSpPr>
              <p:cNvPr id="190" name="Google Shape;190;p27"/>
              <p:cNvCxnSpPr/>
              <p:nvPr/>
            </p:nvCxnSpPr>
            <p:spPr>
              <a:xfrm>
                <a:off x="2476500" y="3104371"/>
                <a:ext cx="0" cy="584775"/>
              </a:xfrm>
              <a:prstGeom prst="straightConnector1">
                <a:avLst/>
              </a:prstGeom>
              <a:noFill/>
              <a:ln w="28575" cap="flat" cmpd="sng">
                <a:solidFill>
                  <a:schemeClr val="lt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191" name="Google Shape;191;p27"/>
              <p:cNvSpPr/>
              <p:nvPr/>
            </p:nvSpPr>
            <p:spPr>
              <a:xfrm>
                <a:off x="2541742" y="3091251"/>
                <a:ext cx="2927324" cy="6461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r>
                  <a:rPr lang="en-US" sz="2700" dirty="0" smtClean="0">
                    <a:solidFill>
                      <a:srgbClr val="FFFFFF"/>
                    </a:solidFill>
                  </a:rPr>
                  <a:t>Input Data</a:t>
                </a:r>
                <a:endParaRPr sz="1050" dirty="0"/>
              </a:p>
            </p:txBody>
          </p:sp>
        </p:grpSp>
        <p:sp>
          <p:nvSpPr>
            <p:cNvPr id="192" name="Google Shape;192;p27"/>
            <p:cNvSpPr/>
            <p:nvPr/>
          </p:nvSpPr>
          <p:spPr>
            <a:xfrm flipH="1">
              <a:off x="6288823" y="1715530"/>
              <a:ext cx="365760" cy="365760"/>
            </a:xfrm>
            <a:prstGeom prst="ellipse">
              <a:avLst/>
            </a:prstGeom>
            <a:solidFill>
              <a:schemeClr val="lt2"/>
            </a:solidFill>
            <a:ln w="38100" cap="flat" cmpd="sng">
              <a:solidFill>
                <a:schemeClr val="accent5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193;p27"/>
            <p:cNvSpPr/>
            <p:nvPr/>
          </p:nvSpPr>
          <p:spPr>
            <a:xfrm flipH="1">
              <a:off x="6288823" y="4712227"/>
              <a:ext cx="365760" cy="365760"/>
            </a:xfrm>
            <a:prstGeom prst="ellipse">
              <a:avLst/>
            </a:prstGeom>
            <a:solidFill>
              <a:schemeClr val="lt2"/>
            </a:solidFill>
            <a:ln w="38100" cap="flat" cmpd="sng">
              <a:solidFill>
                <a:schemeClr val="accent5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194" name="Google Shape;194;p27"/>
            <p:cNvCxnSpPr/>
            <p:nvPr/>
          </p:nvCxnSpPr>
          <p:spPr>
            <a:xfrm rot="10800000" flipH="1">
              <a:off x="6121400" y="5292727"/>
              <a:ext cx="4483100" cy="14892"/>
            </a:xfrm>
            <a:prstGeom prst="straightConnector1">
              <a:avLst/>
            </a:prstGeom>
            <a:noFill/>
            <a:ln w="9525" cap="flat" cmpd="sng">
              <a:solidFill>
                <a:schemeClr val="accent5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29" name="Rectangle 28"/>
          <p:cNvSpPr/>
          <p:nvPr/>
        </p:nvSpPr>
        <p:spPr>
          <a:xfrm>
            <a:off x="4073236" y="124687"/>
            <a:ext cx="1246909" cy="259773"/>
          </a:xfrm>
          <a:prstGeom prst="rect">
            <a:avLst/>
          </a:prstGeom>
          <a:solidFill>
            <a:srgbClr val="000000">
              <a:lumMod val="50000"/>
              <a:lumOff val="5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COVERY</a:t>
            </a:r>
          </a:p>
        </p:txBody>
      </p:sp>
      <p:sp>
        <p:nvSpPr>
          <p:cNvPr id="31" name="Rectangle 30"/>
          <p:cNvSpPr/>
          <p:nvPr/>
        </p:nvSpPr>
        <p:spPr>
          <a:xfrm>
            <a:off x="6567054" y="120997"/>
            <a:ext cx="1246909" cy="259773"/>
          </a:xfrm>
          <a:prstGeom prst="rect">
            <a:avLst/>
          </a:prstGeom>
          <a:solidFill>
            <a:srgbClr val="000000">
              <a:lumMod val="50000"/>
              <a:lumOff val="5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LEMENTATION</a:t>
            </a:r>
          </a:p>
        </p:txBody>
      </p:sp>
      <p:sp>
        <p:nvSpPr>
          <p:cNvPr id="32" name="Rectangle 31"/>
          <p:cNvSpPr/>
          <p:nvPr/>
        </p:nvSpPr>
        <p:spPr>
          <a:xfrm>
            <a:off x="7813963" y="120997"/>
            <a:ext cx="1246909" cy="259773"/>
          </a:xfrm>
          <a:prstGeom prst="rect">
            <a:avLst/>
          </a:prstGeom>
          <a:solidFill>
            <a:srgbClr val="000000">
              <a:lumMod val="50000"/>
              <a:lumOff val="5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ERATIONS</a:t>
            </a:r>
          </a:p>
        </p:txBody>
      </p:sp>
      <p:sp>
        <p:nvSpPr>
          <p:cNvPr id="33" name="Google Shape;59;p14"/>
          <p:cNvSpPr txBox="1">
            <a:spLocks/>
          </p:cNvSpPr>
          <p:nvPr/>
        </p:nvSpPr>
        <p:spPr>
          <a:xfrm>
            <a:off x="2004" y="4575074"/>
            <a:ext cx="9141995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800" b="1" dirty="0" smtClean="0">
                <a:solidFill>
                  <a:schemeClr val="bg1"/>
                </a:solidFill>
              </a:rPr>
              <a:t>BASICS FOR PROCESS SELECTION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36" name="Google Shape;177;p27"/>
          <p:cNvSpPr/>
          <p:nvPr/>
        </p:nvSpPr>
        <p:spPr>
          <a:xfrm>
            <a:off x="1328445" y="3283797"/>
            <a:ext cx="2733675" cy="692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sz="800" dirty="0" smtClean="0"/>
              <a:t>TYPES OF APPLIC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sz="800" dirty="0" smtClean="0"/>
              <a:t>ACCESS TYPE</a:t>
            </a:r>
          </a:p>
        </p:txBody>
      </p:sp>
      <p:sp>
        <p:nvSpPr>
          <p:cNvPr id="38" name="Google Shape;177;p27"/>
          <p:cNvSpPr/>
          <p:nvPr/>
        </p:nvSpPr>
        <p:spPr>
          <a:xfrm>
            <a:off x="5079327" y="3243319"/>
            <a:ext cx="2733675" cy="692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algn="just"/>
            <a:endParaRPr lang="en-US" sz="1200" dirty="0" smtClean="0">
              <a:solidFill>
                <a:srgbClr val="595959"/>
              </a:solidFill>
            </a:endParaRPr>
          </a:p>
        </p:txBody>
      </p:sp>
      <p:sp>
        <p:nvSpPr>
          <p:cNvPr id="39" name="Google Shape;177;p27"/>
          <p:cNvSpPr/>
          <p:nvPr/>
        </p:nvSpPr>
        <p:spPr>
          <a:xfrm>
            <a:off x="5091692" y="1307729"/>
            <a:ext cx="2733675" cy="692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algn="ctr"/>
            <a:r>
              <a:rPr lang="en-PH" sz="1300" dirty="0"/>
              <a:t>DATA BEING PROCESSED</a:t>
            </a:r>
          </a:p>
        </p:txBody>
      </p:sp>
      <p:sp>
        <p:nvSpPr>
          <p:cNvPr id="35" name="Rectangle 34"/>
          <p:cNvSpPr/>
          <p:nvPr/>
        </p:nvSpPr>
        <p:spPr>
          <a:xfrm>
            <a:off x="5320145" y="122842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OLUTIONING</a:t>
            </a:r>
            <a:endParaRPr lang="en-US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2826327" y="122842"/>
            <a:ext cx="1246909" cy="259773"/>
          </a:xfrm>
          <a:prstGeom prst="rect">
            <a:avLst/>
          </a:prstGeom>
          <a:solidFill>
            <a:srgbClr val="FF0000">
              <a:lumMod val="60000"/>
              <a:lumOff val="4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EATION</a:t>
            </a:r>
          </a:p>
        </p:txBody>
      </p:sp>
      <p:sp>
        <p:nvSpPr>
          <p:cNvPr id="40" name="Google Shape;177;p27"/>
          <p:cNvSpPr/>
          <p:nvPr/>
        </p:nvSpPr>
        <p:spPr>
          <a:xfrm>
            <a:off x="1327165" y="1307729"/>
            <a:ext cx="2733675" cy="692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algn="ctr"/>
            <a:r>
              <a:rPr lang="en-PH" sz="1300" dirty="0" smtClean="0"/>
              <a:t>PROGRAMS INVOLVED IN THE PROCESS</a:t>
            </a:r>
          </a:p>
        </p:txBody>
      </p:sp>
      <p:sp>
        <p:nvSpPr>
          <p:cNvPr id="41" name="Google Shape;177;p27"/>
          <p:cNvSpPr/>
          <p:nvPr/>
        </p:nvSpPr>
        <p:spPr>
          <a:xfrm>
            <a:off x="5084641" y="3282517"/>
            <a:ext cx="2733675" cy="692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sz="800" dirty="0"/>
              <a:t>TYPES OF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sz="800" dirty="0"/>
              <a:t>NUMBER OF DATA POINTS</a:t>
            </a:r>
          </a:p>
        </p:txBody>
      </p:sp>
      <p:sp>
        <p:nvSpPr>
          <p:cNvPr id="2" name="Rectangle 1"/>
          <p:cNvSpPr/>
          <p:nvPr/>
        </p:nvSpPr>
        <p:spPr>
          <a:xfrm>
            <a:off x="4454820" y="2417862"/>
            <a:ext cx="23436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PH" dirty="0"/>
              <a:t> </a:t>
            </a:r>
          </a:p>
        </p:txBody>
      </p:sp>
      <p:sp>
        <p:nvSpPr>
          <p:cNvPr id="43" name="Google Shape;174;p27"/>
          <p:cNvSpPr/>
          <p:nvPr/>
        </p:nvSpPr>
        <p:spPr>
          <a:xfrm>
            <a:off x="4611933" y="699015"/>
            <a:ext cx="3362325" cy="3752850"/>
          </a:xfrm>
          <a:prstGeom prst="roundRect">
            <a:avLst>
              <a:gd name="adj" fmla="val 3204"/>
            </a:avLst>
          </a:prstGeom>
          <a:solidFill>
            <a:srgbClr val="D9D9D9">
              <a:alpha val="70980"/>
            </a:srgbClr>
          </a:solidFill>
          <a:ln>
            <a:noFill/>
          </a:ln>
          <a:effectLst>
            <a:outerShdw blurRad="241300" dist="127000" dir="4800000" algn="t" rotWithShape="0">
              <a:srgbClr val="000000">
                <a:alpha val="23921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" name="Google Shape;195;p27"/>
          <p:cNvSpPr/>
          <p:nvPr/>
        </p:nvSpPr>
        <p:spPr>
          <a:xfrm>
            <a:off x="4259158" y="1547490"/>
            <a:ext cx="617220" cy="17145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BFBFBF"/>
              </a:gs>
              <a:gs pos="16000">
                <a:srgbClr val="BFBFBF"/>
              </a:gs>
              <a:gs pos="50000">
                <a:schemeClr val="lt1"/>
              </a:gs>
              <a:gs pos="84000">
                <a:srgbClr val="BFBFBF"/>
              </a:gs>
              <a:gs pos="100000">
                <a:srgbClr val="BFBFBF"/>
              </a:gs>
            </a:gsLst>
            <a:lin ang="0" scaled="0"/>
          </a:gra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6" name="Google Shape;196;p27"/>
          <p:cNvSpPr/>
          <p:nvPr/>
        </p:nvSpPr>
        <p:spPr>
          <a:xfrm>
            <a:off x="4259158" y="3803276"/>
            <a:ext cx="617220" cy="17145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BFBFBF"/>
              </a:gs>
              <a:gs pos="16000">
                <a:srgbClr val="BFBFBF"/>
              </a:gs>
              <a:gs pos="50000">
                <a:schemeClr val="lt1"/>
              </a:gs>
              <a:gs pos="84000">
                <a:srgbClr val="BFBFBF"/>
              </a:gs>
              <a:gs pos="100000">
                <a:srgbClr val="BFBFBF"/>
              </a:gs>
            </a:gsLst>
            <a:lin ang="0" scaled="0"/>
          </a:gra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69671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p26"/>
          <p:cNvSpPr/>
          <p:nvPr/>
        </p:nvSpPr>
        <p:spPr>
          <a:xfrm>
            <a:off x="4287203" y="1589480"/>
            <a:ext cx="692537" cy="760816"/>
          </a:xfrm>
          <a:custGeom>
            <a:avLst/>
            <a:gdLst/>
            <a:ahLst/>
            <a:cxnLst/>
            <a:rect l="l" t="t" r="r" b="b"/>
            <a:pathLst>
              <a:path w="864096" h="1512168" extrusionOk="0">
                <a:moveTo>
                  <a:pt x="0" y="0"/>
                </a:moveTo>
                <a:lnTo>
                  <a:pt x="864096" y="0"/>
                </a:lnTo>
                <a:cubicBezTo>
                  <a:pt x="864030" y="251453"/>
                  <a:pt x="516626" y="503088"/>
                  <a:pt x="516560" y="754541"/>
                </a:cubicBezTo>
                <a:cubicBezTo>
                  <a:pt x="516626" y="1007144"/>
                  <a:pt x="864030" y="1259565"/>
                  <a:pt x="864096" y="1512168"/>
                </a:cubicBezTo>
                <a:lnTo>
                  <a:pt x="0" y="1512168"/>
                </a:lnTo>
                <a:cubicBezTo>
                  <a:pt x="398" y="1262074"/>
                  <a:pt x="338358" y="1006868"/>
                  <a:pt x="338756" y="756774"/>
                </a:cubicBezTo>
                <a:cubicBezTo>
                  <a:pt x="338358" y="502812"/>
                  <a:pt x="398" y="253962"/>
                  <a:pt x="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2" name="Google Shape;272;p26"/>
          <p:cNvSpPr/>
          <p:nvPr/>
        </p:nvSpPr>
        <p:spPr>
          <a:xfrm>
            <a:off x="4192853" y="1023594"/>
            <a:ext cx="842168" cy="84216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5" name="Google Shape;275;p26"/>
          <p:cNvSpPr/>
          <p:nvPr/>
        </p:nvSpPr>
        <p:spPr>
          <a:xfrm>
            <a:off x="4287203" y="1117937"/>
            <a:ext cx="653480" cy="653480"/>
          </a:xfrm>
          <a:prstGeom prst="ellipse">
            <a:avLst/>
          </a:prstGeom>
          <a:solidFill>
            <a:schemeClr val="lt1"/>
          </a:solidFill>
          <a:ln>
            <a:noFill/>
          </a:ln>
          <a:effectLst>
            <a:outerShdw blurRad="114300" dist="114300" dir="4800000" algn="tl" rotWithShape="0">
              <a:srgbClr val="000000">
                <a:alpha val="28627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4578" y="1271008"/>
            <a:ext cx="342197" cy="342197"/>
          </a:xfrm>
          <a:prstGeom prst="rect">
            <a:avLst/>
          </a:prstGeom>
        </p:spPr>
      </p:pic>
      <p:sp>
        <p:nvSpPr>
          <p:cNvPr id="265" name="Google Shape;265;p26"/>
          <p:cNvSpPr txBox="1">
            <a:spLocks noGrp="1"/>
          </p:cNvSpPr>
          <p:nvPr>
            <p:ph type="title"/>
          </p:nvPr>
        </p:nvSpPr>
        <p:spPr>
          <a:xfrm>
            <a:off x="458272" y="205980"/>
            <a:ext cx="8227457" cy="5333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6" tIns="45694" rIns="91406" bIns="45694" anchor="ctr" anchorCtr="0">
            <a:noAutofit/>
          </a:bodyPr>
          <a:lstStyle/>
          <a:p>
            <a:pPr>
              <a:buClr>
                <a:schemeClr val="lt1"/>
              </a:buClr>
            </a:pPr>
            <a:r>
              <a:rPr lang="en-US" dirty="0" smtClean="0">
                <a:solidFill>
                  <a:schemeClr val="lt1"/>
                </a:solidFill>
              </a:rPr>
              <a:t>5 Types of Application</a:t>
            </a:r>
            <a:endParaRPr dirty="0">
              <a:solidFill>
                <a:schemeClr val="lt1"/>
              </a:solidFill>
            </a:endParaRPr>
          </a:p>
        </p:txBody>
      </p:sp>
      <p:grpSp>
        <p:nvGrpSpPr>
          <p:cNvPr id="350" name="Google Shape;350;p26"/>
          <p:cNvGrpSpPr/>
          <p:nvPr/>
        </p:nvGrpSpPr>
        <p:grpSpPr>
          <a:xfrm>
            <a:off x="6664480" y="4186471"/>
            <a:ext cx="1975013" cy="708780"/>
            <a:chOff x="8471617" y="1319673"/>
            <a:chExt cx="2628884" cy="945040"/>
          </a:xfrm>
        </p:grpSpPr>
        <p:sp>
          <p:nvSpPr>
            <p:cNvPr id="351" name="Google Shape;351;p26"/>
            <p:cNvSpPr txBox="1"/>
            <p:nvPr/>
          </p:nvSpPr>
          <p:spPr>
            <a:xfrm>
              <a:off x="8471617" y="1741493"/>
              <a:ext cx="2628884" cy="52322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34275" rIns="0" bIns="34275" anchor="t" anchorCtr="0">
              <a:noAutofit/>
            </a:bodyPr>
            <a:lstStyle/>
            <a:p>
              <a:r>
                <a:rPr lang="en-US" sz="1050" dirty="0" smtClean="0">
                  <a:solidFill>
                    <a:schemeClr val="lt1"/>
                  </a:solidFill>
                  <a:latin typeface="Open Sans"/>
                  <a:ea typeface="Open Sans"/>
                  <a:cs typeface="Open Sans"/>
                  <a:sym typeface="Open Sans"/>
                </a:rPr>
                <a:t>Applications that do not have mouse movement</a:t>
              </a:r>
              <a:endParaRPr sz="1050" dirty="0"/>
            </a:p>
          </p:txBody>
        </p:sp>
        <p:sp>
          <p:nvSpPr>
            <p:cNvPr id="352" name="Google Shape;352;p26"/>
            <p:cNvSpPr txBox="1"/>
            <p:nvPr/>
          </p:nvSpPr>
          <p:spPr>
            <a:xfrm>
              <a:off x="8471617" y="1319673"/>
              <a:ext cx="2628884" cy="40011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34275" rIns="0" bIns="34275" anchor="b" anchorCtr="0">
              <a:noAutofit/>
            </a:bodyPr>
            <a:lstStyle/>
            <a:p>
              <a:r>
                <a:rPr lang="en-US" sz="1500" b="1" dirty="0" smtClean="0">
                  <a:solidFill>
                    <a:schemeClr val="lt1"/>
                  </a:solidFill>
                  <a:latin typeface="Open Sans"/>
                  <a:ea typeface="Open Sans"/>
                  <a:cs typeface="Open Sans"/>
                  <a:sym typeface="Open Sans"/>
                </a:rPr>
                <a:t>Mainframe</a:t>
              </a:r>
              <a:endParaRPr sz="1050" dirty="0"/>
            </a:p>
          </p:txBody>
        </p:sp>
      </p:grpSp>
      <p:grpSp>
        <p:nvGrpSpPr>
          <p:cNvPr id="353" name="Google Shape;353;p26"/>
          <p:cNvGrpSpPr/>
          <p:nvPr/>
        </p:nvGrpSpPr>
        <p:grpSpPr>
          <a:xfrm>
            <a:off x="7092376" y="2692959"/>
            <a:ext cx="1534667" cy="870363"/>
            <a:chOff x="9088751" y="3319234"/>
            <a:chExt cx="2046222" cy="1160484"/>
          </a:xfrm>
        </p:grpSpPr>
        <p:sp>
          <p:nvSpPr>
            <p:cNvPr id="354" name="Google Shape;354;p26"/>
            <p:cNvSpPr txBox="1"/>
            <p:nvPr/>
          </p:nvSpPr>
          <p:spPr>
            <a:xfrm>
              <a:off x="9088751" y="3741054"/>
              <a:ext cx="2046222" cy="73866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34275" rIns="0" bIns="34275" anchor="t" anchorCtr="0">
              <a:noAutofit/>
            </a:bodyPr>
            <a:lstStyle/>
            <a:p>
              <a:r>
                <a:rPr lang="en-US" sz="1050" dirty="0" smtClean="0">
                  <a:solidFill>
                    <a:schemeClr val="lt1"/>
                  </a:solidFill>
                  <a:latin typeface="Open Sans"/>
                  <a:ea typeface="Open Sans"/>
                  <a:cs typeface="Open Sans"/>
                  <a:sym typeface="Open Sans"/>
                </a:rPr>
                <a:t>Desktop applications </a:t>
              </a:r>
              <a:r>
                <a:rPr lang="en-US" sz="1050" b="1" dirty="0" smtClean="0">
                  <a:solidFill>
                    <a:schemeClr val="lt1"/>
                  </a:solidFill>
                  <a:latin typeface="Open Sans"/>
                  <a:ea typeface="Open Sans"/>
                  <a:cs typeface="Open Sans"/>
                  <a:sym typeface="Open Sans"/>
                </a:rPr>
                <a:t>not created by </a:t>
              </a:r>
              <a:r>
                <a:rPr lang="en-US" sz="1050" b="1" dirty="0" err="1" smtClean="0">
                  <a:solidFill>
                    <a:schemeClr val="lt1"/>
                  </a:solidFill>
                  <a:latin typeface="Open Sans"/>
                  <a:ea typeface="Open Sans"/>
                  <a:cs typeface="Open Sans"/>
                  <a:sym typeface="Open Sans"/>
                </a:rPr>
                <a:t>microsoft</a:t>
              </a:r>
              <a:endParaRPr sz="1050" b="1" dirty="0"/>
            </a:p>
          </p:txBody>
        </p:sp>
        <p:sp>
          <p:nvSpPr>
            <p:cNvPr id="355" name="Google Shape;355;p26"/>
            <p:cNvSpPr txBox="1"/>
            <p:nvPr/>
          </p:nvSpPr>
          <p:spPr>
            <a:xfrm>
              <a:off x="9088751" y="3319234"/>
              <a:ext cx="2046222" cy="40011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34275" rIns="0" bIns="34275" anchor="b" anchorCtr="0">
              <a:noAutofit/>
            </a:bodyPr>
            <a:lstStyle/>
            <a:p>
              <a:pPr algn="r"/>
              <a:r>
                <a:rPr lang="en-US" sz="1200" b="1" dirty="0" smtClean="0">
                  <a:solidFill>
                    <a:schemeClr val="lt1"/>
                  </a:solidFill>
                  <a:latin typeface="Open Sans"/>
                  <a:ea typeface="Open Sans"/>
                  <a:cs typeface="Open Sans"/>
                  <a:sym typeface="Open Sans"/>
                </a:rPr>
                <a:t>Non-Microsoft </a:t>
              </a:r>
              <a:r>
                <a:rPr lang="en-US" sz="1200" b="1" dirty="0">
                  <a:solidFill>
                    <a:schemeClr val="lt1"/>
                  </a:solidFill>
                  <a:latin typeface="Open Sans"/>
                  <a:ea typeface="Open Sans"/>
                  <a:cs typeface="Open Sans"/>
                  <a:sym typeface="Open Sans"/>
                </a:rPr>
                <a:t>System Application</a:t>
              </a:r>
              <a:endParaRPr lang="en-US" sz="1200" dirty="0"/>
            </a:p>
          </p:txBody>
        </p:sp>
      </p:grpSp>
      <p:grpSp>
        <p:nvGrpSpPr>
          <p:cNvPr id="356" name="Google Shape;356;p26"/>
          <p:cNvGrpSpPr/>
          <p:nvPr/>
        </p:nvGrpSpPr>
        <p:grpSpPr>
          <a:xfrm>
            <a:off x="744544" y="2692959"/>
            <a:ext cx="1534667" cy="870363"/>
            <a:chOff x="9088751" y="3319234"/>
            <a:chExt cx="2046222" cy="1160484"/>
          </a:xfrm>
        </p:grpSpPr>
        <p:sp>
          <p:nvSpPr>
            <p:cNvPr id="357" name="Google Shape;357;p26"/>
            <p:cNvSpPr txBox="1"/>
            <p:nvPr/>
          </p:nvSpPr>
          <p:spPr>
            <a:xfrm>
              <a:off x="9088751" y="3741054"/>
              <a:ext cx="2046222" cy="73866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34275" rIns="0" bIns="34275" anchor="t" anchorCtr="0">
              <a:noAutofit/>
            </a:bodyPr>
            <a:lstStyle/>
            <a:p>
              <a:pPr algn="r"/>
              <a:r>
                <a:rPr lang="en-US" sz="1050" dirty="0" smtClean="0">
                  <a:solidFill>
                    <a:schemeClr val="lt1"/>
                  </a:solidFill>
                  <a:latin typeface="Open Sans"/>
                  <a:ea typeface="Open Sans"/>
                  <a:cs typeface="Open Sans"/>
                  <a:sym typeface="Open Sans"/>
                </a:rPr>
                <a:t>Desktop applications </a:t>
              </a:r>
              <a:r>
                <a:rPr lang="en-US" sz="1050" b="1" dirty="0" smtClean="0">
                  <a:solidFill>
                    <a:schemeClr val="lt1"/>
                  </a:solidFill>
                  <a:latin typeface="Open Sans"/>
                  <a:ea typeface="Open Sans"/>
                  <a:cs typeface="Open Sans"/>
                  <a:sym typeface="Open Sans"/>
                </a:rPr>
                <a:t>created by </a:t>
              </a:r>
              <a:r>
                <a:rPr lang="en-US" sz="1050" b="1" dirty="0" err="1" smtClean="0">
                  <a:solidFill>
                    <a:schemeClr val="lt1"/>
                  </a:solidFill>
                  <a:latin typeface="Open Sans"/>
                  <a:ea typeface="Open Sans"/>
                  <a:cs typeface="Open Sans"/>
                  <a:sym typeface="Open Sans"/>
                </a:rPr>
                <a:t>microsoft</a:t>
              </a:r>
              <a:r>
                <a:rPr lang="en-US" sz="1050" b="1" dirty="0" smtClean="0">
                  <a:solidFill>
                    <a:schemeClr val="lt1"/>
                  </a:solidFill>
                  <a:latin typeface="Open Sans"/>
                  <a:ea typeface="Open Sans"/>
                  <a:cs typeface="Open Sans"/>
                  <a:sym typeface="Open Sans"/>
                </a:rPr>
                <a:t> </a:t>
              </a:r>
              <a:endParaRPr sz="1050" b="1" dirty="0"/>
            </a:p>
          </p:txBody>
        </p:sp>
        <p:sp>
          <p:nvSpPr>
            <p:cNvPr id="358" name="Google Shape;358;p26"/>
            <p:cNvSpPr txBox="1"/>
            <p:nvPr/>
          </p:nvSpPr>
          <p:spPr>
            <a:xfrm>
              <a:off x="9088751" y="3319234"/>
              <a:ext cx="2046222" cy="40011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34275" rIns="0" bIns="34275" anchor="b" anchorCtr="0">
              <a:noAutofit/>
            </a:bodyPr>
            <a:lstStyle/>
            <a:p>
              <a:pPr algn="r"/>
              <a:r>
                <a:rPr lang="en-US" sz="1200" b="1" dirty="0" smtClean="0">
                  <a:solidFill>
                    <a:schemeClr val="lt1"/>
                  </a:solidFill>
                  <a:latin typeface="Open Sans"/>
                  <a:ea typeface="Open Sans"/>
                  <a:cs typeface="Open Sans"/>
                  <a:sym typeface="Open Sans"/>
                </a:rPr>
                <a:t>Microsoft System Application</a:t>
              </a:r>
              <a:endParaRPr sz="1200" dirty="0"/>
            </a:p>
          </p:txBody>
        </p:sp>
      </p:grpSp>
      <p:grpSp>
        <p:nvGrpSpPr>
          <p:cNvPr id="359" name="Google Shape;359;p26"/>
          <p:cNvGrpSpPr/>
          <p:nvPr/>
        </p:nvGrpSpPr>
        <p:grpSpPr>
          <a:xfrm>
            <a:off x="2095097" y="1002776"/>
            <a:ext cx="1975013" cy="708780"/>
            <a:chOff x="8471617" y="1319673"/>
            <a:chExt cx="2628884" cy="945040"/>
          </a:xfrm>
        </p:grpSpPr>
        <p:sp>
          <p:nvSpPr>
            <p:cNvPr id="360" name="Google Shape;360;p26"/>
            <p:cNvSpPr txBox="1"/>
            <p:nvPr/>
          </p:nvSpPr>
          <p:spPr>
            <a:xfrm>
              <a:off x="8471617" y="1741493"/>
              <a:ext cx="2628884" cy="52322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34275" rIns="0" bIns="34275" anchor="t" anchorCtr="0">
              <a:noAutofit/>
            </a:bodyPr>
            <a:lstStyle/>
            <a:p>
              <a:pPr algn="r"/>
              <a:r>
                <a:rPr lang="en-US" sz="1050" dirty="0" smtClean="0">
                  <a:solidFill>
                    <a:schemeClr val="lt1"/>
                  </a:solidFill>
                  <a:latin typeface="Open Sans"/>
                  <a:ea typeface="Open Sans"/>
                  <a:cs typeface="Open Sans"/>
                  <a:sym typeface="Open Sans"/>
                </a:rPr>
                <a:t>Applications that are accessed via browser</a:t>
              </a:r>
              <a:endParaRPr sz="1050" dirty="0"/>
            </a:p>
          </p:txBody>
        </p:sp>
        <p:sp>
          <p:nvSpPr>
            <p:cNvPr id="361" name="Google Shape;361;p26"/>
            <p:cNvSpPr txBox="1"/>
            <p:nvPr/>
          </p:nvSpPr>
          <p:spPr>
            <a:xfrm>
              <a:off x="8471617" y="1319673"/>
              <a:ext cx="2628884" cy="40011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34275" rIns="0" bIns="34275" anchor="b" anchorCtr="0">
              <a:noAutofit/>
            </a:bodyPr>
            <a:lstStyle/>
            <a:p>
              <a:pPr algn="r"/>
              <a:r>
                <a:rPr lang="en-US" sz="1200" b="1" dirty="0" smtClean="0">
                  <a:solidFill>
                    <a:schemeClr val="lt1"/>
                  </a:solidFill>
                  <a:latin typeface="Open Sans"/>
                  <a:ea typeface="Open Sans"/>
                  <a:cs typeface="Open Sans"/>
                  <a:sym typeface="Open Sans"/>
                </a:rPr>
                <a:t>Web Application</a:t>
              </a:r>
              <a:endParaRPr sz="1200" dirty="0"/>
            </a:p>
          </p:txBody>
        </p:sp>
      </p:grpSp>
      <p:grpSp>
        <p:nvGrpSpPr>
          <p:cNvPr id="362" name="Google Shape;362;p26"/>
          <p:cNvGrpSpPr/>
          <p:nvPr/>
        </p:nvGrpSpPr>
        <p:grpSpPr>
          <a:xfrm>
            <a:off x="642821" y="4186471"/>
            <a:ext cx="1975013" cy="708780"/>
            <a:chOff x="8471617" y="1319673"/>
            <a:chExt cx="2628884" cy="945040"/>
          </a:xfrm>
        </p:grpSpPr>
        <p:sp>
          <p:nvSpPr>
            <p:cNvPr id="363" name="Google Shape;363;p26"/>
            <p:cNvSpPr txBox="1"/>
            <p:nvPr/>
          </p:nvSpPr>
          <p:spPr>
            <a:xfrm>
              <a:off x="8471617" y="1741493"/>
              <a:ext cx="2628884" cy="52322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34275" rIns="0" bIns="34275" anchor="t" anchorCtr="0">
              <a:noAutofit/>
            </a:bodyPr>
            <a:lstStyle/>
            <a:p>
              <a:pPr algn="r"/>
              <a:r>
                <a:rPr lang="en-US" sz="1050" dirty="0" smtClean="0">
                  <a:solidFill>
                    <a:schemeClr val="lt1"/>
                  </a:solidFill>
                  <a:latin typeface="Open Sans"/>
                  <a:ea typeface="Open Sans"/>
                  <a:cs typeface="Open Sans"/>
                  <a:sym typeface="Open Sans"/>
                </a:rPr>
                <a:t>Applications created by SAP </a:t>
              </a:r>
              <a:endParaRPr sz="1050" dirty="0"/>
            </a:p>
          </p:txBody>
        </p:sp>
        <p:sp>
          <p:nvSpPr>
            <p:cNvPr id="364" name="Google Shape;364;p26"/>
            <p:cNvSpPr txBox="1"/>
            <p:nvPr/>
          </p:nvSpPr>
          <p:spPr>
            <a:xfrm>
              <a:off x="8471617" y="1319673"/>
              <a:ext cx="2628884" cy="40011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34275" rIns="0" bIns="34275" anchor="b" anchorCtr="0">
              <a:noAutofit/>
            </a:bodyPr>
            <a:lstStyle/>
            <a:p>
              <a:pPr algn="r"/>
              <a:r>
                <a:rPr lang="en-US" sz="1500" b="1" dirty="0" smtClean="0">
                  <a:solidFill>
                    <a:schemeClr val="lt1"/>
                  </a:solidFill>
                  <a:latin typeface="Open Sans"/>
                  <a:ea typeface="Open Sans"/>
                  <a:cs typeface="Open Sans"/>
                  <a:sym typeface="Open Sans"/>
                </a:rPr>
                <a:t>SAP</a:t>
              </a:r>
              <a:endParaRPr sz="1050" dirty="0"/>
            </a:p>
          </p:txBody>
        </p:sp>
      </p:grpSp>
      <p:sp>
        <p:nvSpPr>
          <p:cNvPr id="267" name="Google Shape;267;p26"/>
          <p:cNvSpPr/>
          <p:nvPr/>
        </p:nvSpPr>
        <p:spPr>
          <a:xfrm rot="16200000" flipH="1">
            <a:off x="3189300" y="2725400"/>
            <a:ext cx="692536" cy="760816"/>
          </a:xfrm>
          <a:custGeom>
            <a:avLst/>
            <a:gdLst/>
            <a:ahLst/>
            <a:cxnLst/>
            <a:rect l="l" t="t" r="r" b="b"/>
            <a:pathLst>
              <a:path w="864096" h="1512168" extrusionOk="0">
                <a:moveTo>
                  <a:pt x="0" y="0"/>
                </a:moveTo>
                <a:lnTo>
                  <a:pt x="864096" y="0"/>
                </a:lnTo>
                <a:cubicBezTo>
                  <a:pt x="864030" y="251453"/>
                  <a:pt x="516626" y="503088"/>
                  <a:pt x="516560" y="754541"/>
                </a:cubicBezTo>
                <a:cubicBezTo>
                  <a:pt x="516626" y="1007144"/>
                  <a:pt x="864030" y="1259565"/>
                  <a:pt x="864096" y="1512168"/>
                </a:cubicBezTo>
                <a:lnTo>
                  <a:pt x="0" y="1512168"/>
                </a:lnTo>
                <a:cubicBezTo>
                  <a:pt x="398" y="1262074"/>
                  <a:pt x="338358" y="1006868"/>
                  <a:pt x="338756" y="756774"/>
                </a:cubicBezTo>
                <a:cubicBezTo>
                  <a:pt x="338358" y="502812"/>
                  <a:pt x="398" y="253962"/>
                  <a:pt x="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8" name="Google Shape;268;p26"/>
          <p:cNvSpPr/>
          <p:nvPr/>
        </p:nvSpPr>
        <p:spPr>
          <a:xfrm rot="13759117" flipH="1">
            <a:off x="3487913" y="3465973"/>
            <a:ext cx="692536" cy="760816"/>
          </a:xfrm>
          <a:custGeom>
            <a:avLst/>
            <a:gdLst/>
            <a:ahLst/>
            <a:cxnLst/>
            <a:rect l="l" t="t" r="r" b="b"/>
            <a:pathLst>
              <a:path w="864096" h="1512168" extrusionOk="0">
                <a:moveTo>
                  <a:pt x="0" y="0"/>
                </a:moveTo>
                <a:lnTo>
                  <a:pt x="864096" y="0"/>
                </a:lnTo>
                <a:cubicBezTo>
                  <a:pt x="864030" y="251453"/>
                  <a:pt x="516626" y="503088"/>
                  <a:pt x="516560" y="754541"/>
                </a:cubicBezTo>
                <a:cubicBezTo>
                  <a:pt x="516626" y="1007144"/>
                  <a:pt x="864030" y="1259565"/>
                  <a:pt x="864096" y="1512168"/>
                </a:cubicBezTo>
                <a:lnTo>
                  <a:pt x="0" y="1512168"/>
                </a:lnTo>
                <a:cubicBezTo>
                  <a:pt x="398" y="1262074"/>
                  <a:pt x="338358" y="1006868"/>
                  <a:pt x="338756" y="756774"/>
                </a:cubicBezTo>
                <a:cubicBezTo>
                  <a:pt x="338358" y="502812"/>
                  <a:pt x="398" y="253962"/>
                  <a:pt x="0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0" name="Google Shape;270;p26"/>
          <p:cNvSpPr/>
          <p:nvPr/>
        </p:nvSpPr>
        <p:spPr>
          <a:xfrm flipH="1">
            <a:off x="2561836" y="2677946"/>
            <a:ext cx="842168" cy="84216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1" name="Google Shape;271;p26"/>
          <p:cNvSpPr/>
          <p:nvPr/>
        </p:nvSpPr>
        <p:spPr>
          <a:xfrm flipH="1">
            <a:off x="2989581" y="3780401"/>
            <a:ext cx="842168" cy="842169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3" name="Google Shape;273;p26"/>
          <p:cNvSpPr/>
          <p:nvPr/>
        </p:nvSpPr>
        <p:spPr>
          <a:xfrm flipH="1">
            <a:off x="2656186" y="2772290"/>
            <a:ext cx="653480" cy="653480"/>
          </a:xfrm>
          <a:prstGeom prst="ellipse">
            <a:avLst/>
          </a:prstGeom>
          <a:solidFill>
            <a:schemeClr val="lt1"/>
          </a:solidFill>
          <a:ln>
            <a:noFill/>
          </a:ln>
          <a:effectLst>
            <a:outerShdw blurRad="114300" dist="114300" dir="4800000" algn="tl" rotWithShape="0">
              <a:srgbClr val="000000">
                <a:alpha val="28627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4" name="Google Shape;274;p26"/>
          <p:cNvSpPr/>
          <p:nvPr/>
        </p:nvSpPr>
        <p:spPr>
          <a:xfrm flipH="1">
            <a:off x="3083931" y="3874745"/>
            <a:ext cx="653480" cy="653480"/>
          </a:xfrm>
          <a:prstGeom prst="ellipse">
            <a:avLst/>
          </a:prstGeom>
          <a:solidFill>
            <a:schemeClr val="lt1"/>
          </a:solidFill>
          <a:ln>
            <a:noFill/>
          </a:ln>
          <a:effectLst>
            <a:outerShdw blurRad="114300" dist="114300" dir="4800000" algn="tl" rotWithShape="0">
              <a:srgbClr val="000000">
                <a:alpha val="28627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6" name="Google Shape;276;p26"/>
          <p:cNvSpPr/>
          <p:nvPr/>
        </p:nvSpPr>
        <p:spPr>
          <a:xfrm rot="5400000">
            <a:off x="5371902" y="2725400"/>
            <a:ext cx="692536" cy="760816"/>
          </a:xfrm>
          <a:custGeom>
            <a:avLst/>
            <a:gdLst/>
            <a:ahLst/>
            <a:cxnLst/>
            <a:rect l="l" t="t" r="r" b="b"/>
            <a:pathLst>
              <a:path w="864096" h="1512168" extrusionOk="0">
                <a:moveTo>
                  <a:pt x="0" y="0"/>
                </a:moveTo>
                <a:lnTo>
                  <a:pt x="864096" y="0"/>
                </a:lnTo>
                <a:cubicBezTo>
                  <a:pt x="864030" y="251453"/>
                  <a:pt x="516626" y="503088"/>
                  <a:pt x="516560" y="754541"/>
                </a:cubicBezTo>
                <a:cubicBezTo>
                  <a:pt x="516626" y="1007144"/>
                  <a:pt x="864030" y="1259565"/>
                  <a:pt x="864096" y="1512168"/>
                </a:cubicBezTo>
                <a:lnTo>
                  <a:pt x="0" y="1512168"/>
                </a:lnTo>
                <a:cubicBezTo>
                  <a:pt x="398" y="1262074"/>
                  <a:pt x="338358" y="1006868"/>
                  <a:pt x="338756" y="756774"/>
                </a:cubicBezTo>
                <a:cubicBezTo>
                  <a:pt x="338358" y="502812"/>
                  <a:pt x="398" y="253962"/>
                  <a:pt x="0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7" name="Google Shape;277;p26"/>
          <p:cNvSpPr/>
          <p:nvPr/>
        </p:nvSpPr>
        <p:spPr>
          <a:xfrm rot="7840883">
            <a:off x="5073289" y="3465973"/>
            <a:ext cx="692536" cy="760816"/>
          </a:xfrm>
          <a:custGeom>
            <a:avLst/>
            <a:gdLst/>
            <a:ahLst/>
            <a:cxnLst/>
            <a:rect l="l" t="t" r="r" b="b"/>
            <a:pathLst>
              <a:path w="864096" h="1512168" extrusionOk="0">
                <a:moveTo>
                  <a:pt x="0" y="0"/>
                </a:moveTo>
                <a:lnTo>
                  <a:pt x="864096" y="0"/>
                </a:lnTo>
                <a:cubicBezTo>
                  <a:pt x="864030" y="251453"/>
                  <a:pt x="516626" y="503088"/>
                  <a:pt x="516560" y="754541"/>
                </a:cubicBezTo>
                <a:cubicBezTo>
                  <a:pt x="516626" y="1007144"/>
                  <a:pt x="864030" y="1259565"/>
                  <a:pt x="864096" y="1512168"/>
                </a:cubicBezTo>
                <a:lnTo>
                  <a:pt x="0" y="1512168"/>
                </a:lnTo>
                <a:cubicBezTo>
                  <a:pt x="398" y="1262074"/>
                  <a:pt x="338358" y="1006868"/>
                  <a:pt x="338756" y="756774"/>
                </a:cubicBezTo>
                <a:cubicBezTo>
                  <a:pt x="338358" y="502812"/>
                  <a:pt x="398" y="253962"/>
                  <a:pt x="0" y="0"/>
                </a:cubicBez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9" name="Google Shape;279;p26"/>
          <p:cNvSpPr/>
          <p:nvPr/>
        </p:nvSpPr>
        <p:spPr>
          <a:xfrm>
            <a:off x="5849734" y="2677946"/>
            <a:ext cx="842168" cy="842169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0" name="Google Shape;280;p26"/>
          <p:cNvSpPr/>
          <p:nvPr/>
        </p:nvSpPr>
        <p:spPr>
          <a:xfrm>
            <a:off x="5421988" y="3780401"/>
            <a:ext cx="842168" cy="842169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2" name="Google Shape;282;p26"/>
          <p:cNvSpPr/>
          <p:nvPr/>
        </p:nvSpPr>
        <p:spPr>
          <a:xfrm>
            <a:off x="5944084" y="2772290"/>
            <a:ext cx="653480" cy="653480"/>
          </a:xfrm>
          <a:prstGeom prst="ellipse">
            <a:avLst/>
          </a:prstGeom>
          <a:solidFill>
            <a:schemeClr val="lt1"/>
          </a:solidFill>
          <a:ln>
            <a:noFill/>
          </a:ln>
          <a:effectLst>
            <a:outerShdw blurRad="114300" dist="114300" dir="4800000" algn="tl" rotWithShape="0">
              <a:srgbClr val="000000">
                <a:alpha val="28627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3" name="Google Shape;283;p26"/>
          <p:cNvSpPr/>
          <p:nvPr/>
        </p:nvSpPr>
        <p:spPr>
          <a:xfrm>
            <a:off x="5516338" y="3874745"/>
            <a:ext cx="653480" cy="653480"/>
          </a:xfrm>
          <a:prstGeom prst="ellipse">
            <a:avLst/>
          </a:prstGeom>
          <a:solidFill>
            <a:schemeClr val="lt1"/>
          </a:solidFill>
          <a:ln>
            <a:noFill/>
          </a:ln>
          <a:effectLst>
            <a:outerShdw blurRad="114300" dist="114300" dir="4800000" algn="tl" rotWithShape="0">
              <a:srgbClr val="000000">
                <a:alpha val="28627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5" name="Google Shape;285;p26"/>
          <p:cNvSpPr/>
          <p:nvPr/>
        </p:nvSpPr>
        <p:spPr>
          <a:xfrm>
            <a:off x="3742768" y="2195178"/>
            <a:ext cx="1807704" cy="1807703"/>
          </a:xfrm>
          <a:prstGeom prst="ellipse">
            <a:avLst/>
          </a:prstGeom>
          <a:solidFill>
            <a:srgbClr val="595959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6" name="Google Shape;286;p26"/>
          <p:cNvSpPr/>
          <p:nvPr/>
        </p:nvSpPr>
        <p:spPr>
          <a:xfrm>
            <a:off x="3841997" y="2294407"/>
            <a:ext cx="1609247" cy="1609246"/>
          </a:xfrm>
          <a:prstGeom prst="ellipse">
            <a:avLst/>
          </a:prstGeom>
          <a:solidFill>
            <a:srgbClr val="7F7F7F"/>
          </a:solidFill>
          <a:ln>
            <a:noFill/>
          </a:ln>
          <a:effectLst>
            <a:outerShdw blurRad="114300" dist="114300" dir="4800000" algn="tl" rotWithShape="0">
              <a:srgbClr val="000000">
                <a:alpha val="28627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94" name="Google Shape;294;p26"/>
          <p:cNvGrpSpPr/>
          <p:nvPr/>
        </p:nvGrpSpPr>
        <p:grpSpPr>
          <a:xfrm>
            <a:off x="4403590" y="2722007"/>
            <a:ext cx="486060" cy="754045"/>
            <a:chOff x="655638" y="2620963"/>
            <a:chExt cx="2009775" cy="3117850"/>
          </a:xfrm>
        </p:grpSpPr>
        <p:sp>
          <p:nvSpPr>
            <p:cNvPr id="295" name="Google Shape;295;p26"/>
            <p:cNvSpPr/>
            <p:nvPr/>
          </p:nvSpPr>
          <p:spPr>
            <a:xfrm>
              <a:off x="981075" y="3498850"/>
              <a:ext cx="1358900" cy="1362075"/>
            </a:xfrm>
            <a:custGeom>
              <a:avLst/>
              <a:gdLst/>
              <a:ahLst/>
              <a:cxnLst/>
              <a:rect l="l" t="t" r="r" b="b"/>
              <a:pathLst>
                <a:path w="1036" h="1040" extrusionOk="0">
                  <a:moveTo>
                    <a:pt x="1030" y="439"/>
                  </a:moveTo>
                  <a:cubicBezTo>
                    <a:pt x="979" y="439"/>
                    <a:pt x="979" y="439"/>
                    <a:pt x="979" y="439"/>
                  </a:cubicBezTo>
                  <a:cubicBezTo>
                    <a:pt x="959" y="439"/>
                    <a:pt x="942" y="426"/>
                    <a:pt x="936" y="407"/>
                  </a:cubicBezTo>
                  <a:cubicBezTo>
                    <a:pt x="927" y="371"/>
                    <a:pt x="912" y="337"/>
                    <a:pt x="894" y="304"/>
                  </a:cubicBezTo>
                  <a:cubicBezTo>
                    <a:pt x="884" y="287"/>
                    <a:pt x="887" y="266"/>
                    <a:pt x="901" y="252"/>
                  </a:cubicBezTo>
                  <a:cubicBezTo>
                    <a:pt x="937" y="215"/>
                    <a:pt x="937" y="215"/>
                    <a:pt x="937" y="215"/>
                  </a:cubicBezTo>
                  <a:cubicBezTo>
                    <a:pt x="905" y="171"/>
                    <a:pt x="867" y="133"/>
                    <a:pt x="823" y="101"/>
                  </a:cubicBezTo>
                  <a:cubicBezTo>
                    <a:pt x="786" y="137"/>
                    <a:pt x="786" y="137"/>
                    <a:pt x="786" y="137"/>
                  </a:cubicBezTo>
                  <a:cubicBezTo>
                    <a:pt x="772" y="151"/>
                    <a:pt x="751" y="154"/>
                    <a:pt x="734" y="144"/>
                  </a:cubicBezTo>
                  <a:cubicBezTo>
                    <a:pt x="701" y="126"/>
                    <a:pt x="667" y="111"/>
                    <a:pt x="631" y="102"/>
                  </a:cubicBezTo>
                  <a:cubicBezTo>
                    <a:pt x="612" y="96"/>
                    <a:pt x="599" y="79"/>
                    <a:pt x="599" y="59"/>
                  </a:cubicBezTo>
                  <a:cubicBezTo>
                    <a:pt x="599" y="8"/>
                    <a:pt x="599" y="8"/>
                    <a:pt x="599" y="8"/>
                  </a:cubicBezTo>
                  <a:cubicBezTo>
                    <a:pt x="546" y="0"/>
                    <a:pt x="490" y="0"/>
                    <a:pt x="437" y="8"/>
                  </a:cubicBezTo>
                  <a:cubicBezTo>
                    <a:pt x="437" y="59"/>
                    <a:pt x="437" y="59"/>
                    <a:pt x="437" y="59"/>
                  </a:cubicBezTo>
                  <a:cubicBezTo>
                    <a:pt x="437" y="79"/>
                    <a:pt x="424" y="96"/>
                    <a:pt x="405" y="102"/>
                  </a:cubicBezTo>
                  <a:cubicBezTo>
                    <a:pt x="369" y="111"/>
                    <a:pt x="335" y="126"/>
                    <a:pt x="302" y="144"/>
                  </a:cubicBezTo>
                  <a:cubicBezTo>
                    <a:pt x="285" y="154"/>
                    <a:pt x="264" y="151"/>
                    <a:pt x="249" y="137"/>
                  </a:cubicBezTo>
                  <a:cubicBezTo>
                    <a:pt x="213" y="101"/>
                    <a:pt x="213" y="101"/>
                    <a:pt x="213" y="101"/>
                  </a:cubicBezTo>
                  <a:cubicBezTo>
                    <a:pt x="169" y="133"/>
                    <a:pt x="131" y="171"/>
                    <a:pt x="99" y="215"/>
                  </a:cubicBezTo>
                  <a:cubicBezTo>
                    <a:pt x="135" y="251"/>
                    <a:pt x="135" y="251"/>
                    <a:pt x="135" y="251"/>
                  </a:cubicBezTo>
                  <a:cubicBezTo>
                    <a:pt x="149" y="266"/>
                    <a:pt x="152" y="287"/>
                    <a:pt x="142" y="304"/>
                  </a:cubicBezTo>
                  <a:cubicBezTo>
                    <a:pt x="124" y="337"/>
                    <a:pt x="109" y="371"/>
                    <a:pt x="100" y="407"/>
                  </a:cubicBezTo>
                  <a:cubicBezTo>
                    <a:pt x="94" y="426"/>
                    <a:pt x="77" y="439"/>
                    <a:pt x="57" y="439"/>
                  </a:cubicBezTo>
                  <a:cubicBezTo>
                    <a:pt x="6" y="439"/>
                    <a:pt x="6" y="439"/>
                    <a:pt x="6" y="439"/>
                  </a:cubicBezTo>
                  <a:cubicBezTo>
                    <a:pt x="2" y="466"/>
                    <a:pt x="0" y="493"/>
                    <a:pt x="0" y="520"/>
                  </a:cubicBezTo>
                  <a:cubicBezTo>
                    <a:pt x="0" y="547"/>
                    <a:pt x="2" y="574"/>
                    <a:pt x="6" y="601"/>
                  </a:cubicBezTo>
                  <a:cubicBezTo>
                    <a:pt x="57" y="601"/>
                    <a:pt x="57" y="601"/>
                    <a:pt x="57" y="601"/>
                  </a:cubicBezTo>
                  <a:cubicBezTo>
                    <a:pt x="77" y="601"/>
                    <a:pt x="94" y="614"/>
                    <a:pt x="100" y="633"/>
                  </a:cubicBezTo>
                  <a:cubicBezTo>
                    <a:pt x="109" y="669"/>
                    <a:pt x="124" y="703"/>
                    <a:pt x="142" y="736"/>
                  </a:cubicBezTo>
                  <a:cubicBezTo>
                    <a:pt x="152" y="753"/>
                    <a:pt x="149" y="774"/>
                    <a:pt x="135" y="789"/>
                  </a:cubicBezTo>
                  <a:cubicBezTo>
                    <a:pt x="99" y="825"/>
                    <a:pt x="99" y="825"/>
                    <a:pt x="99" y="825"/>
                  </a:cubicBezTo>
                  <a:cubicBezTo>
                    <a:pt x="131" y="868"/>
                    <a:pt x="169" y="907"/>
                    <a:pt x="213" y="939"/>
                  </a:cubicBezTo>
                  <a:cubicBezTo>
                    <a:pt x="249" y="903"/>
                    <a:pt x="249" y="903"/>
                    <a:pt x="249" y="903"/>
                  </a:cubicBezTo>
                  <a:cubicBezTo>
                    <a:pt x="264" y="889"/>
                    <a:pt x="285" y="886"/>
                    <a:pt x="302" y="896"/>
                  </a:cubicBezTo>
                  <a:cubicBezTo>
                    <a:pt x="335" y="914"/>
                    <a:pt x="369" y="929"/>
                    <a:pt x="405" y="938"/>
                  </a:cubicBezTo>
                  <a:cubicBezTo>
                    <a:pt x="424" y="944"/>
                    <a:pt x="437" y="961"/>
                    <a:pt x="437" y="981"/>
                  </a:cubicBezTo>
                  <a:cubicBezTo>
                    <a:pt x="437" y="1032"/>
                    <a:pt x="437" y="1032"/>
                    <a:pt x="437" y="1032"/>
                  </a:cubicBezTo>
                  <a:cubicBezTo>
                    <a:pt x="490" y="1040"/>
                    <a:pt x="546" y="1040"/>
                    <a:pt x="599" y="1032"/>
                  </a:cubicBezTo>
                  <a:cubicBezTo>
                    <a:pt x="599" y="981"/>
                    <a:pt x="599" y="981"/>
                    <a:pt x="599" y="981"/>
                  </a:cubicBezTo>
                  <a:cubicBezTo>
                    <a:pt x="599" y="961"/>
                    <a:pt x="612" y="944"/>
                    <a:pt x="631" y="938"/>
                  </a:cubicBezTo>
                  <a:cubicBezTo>
                    <a:pt x="667" y="929"/>
                    <a:pt x="701" y="914"/>
                    <a:pt x="734" y="896"/>
                  </a:cubicBezTo>
                  <a:cubicBezTo>
                    <a:pt x="751" y="886"/>
                    <a:pt x="772" y="889"/>
                    <a:pt x="786" y="903"/>
                  </a:cubicBezTo>
                  <a:cubicBezTo>
                    <a:pt x="823" y="939"/>
                    <a:pt x="823" y="939"/>
                    <a:pt x="823" y="939"/>
                  </a:cubicBezTo>
                  <a:cubicBezTo>
                    <a:pt x="867" y="907"/>
                    <a:pt x="905" y="868"/>
                    <a:pt x="937" y="825"/>
                  </a:cubicBezTo>
                  <a:cubicBezTo>
                    <a:pt x="901" y="788"/>
                    <a:pt x="901" y="788"/>
                    <a:pt x="901" y="788"/>
                  </a:cubicBezTo>
                  <a:cubicBezTo>
                    <a:pt x="887" y="774"/>
                    <a:pt x="884" y="753"/>
                    <a:pt x="894" y="736"/>
                  </a:cubicBezTo>
                  <a:cubicBezTo>
                    <a:pt x="912" y="703"/>
                    <a:pt x="927" y="669"/>
                    <a:pt x="936" y="633"/>
                  </a:cubicBezTo>
                  <a:cubicBezTo>
                    <a:pt x="942" y="614"/>
                    <a:pt x="959" y="601"/>
                    <a:pt x="979" y="601"/>
                  </a:cubicBezTo>
                  <a:cubicBezTo>
                    <a:pt x="1030" y="601"/>
                    <a:pt x="1030" y="601"/>
                    <a:pt x="1030" y="601"/>
                  </a:cubicBezTo>
                  <a:cubicBezTo>
                    <a:pt x="1034" y="574"/>
                    <a:pt x="1036" y="547"/>
                    <a:pt x="1036" y="520"/>
                  </a:cubicBezTo>
                  <a:cubicBezTo>
                    <a:pt x="1036" y="493"/>
                    <a:pt x="1034" y="466"/>
                    <a:pt x="1030" y="439"/>
                  </a:cubicBezTo>
                  <a:close/>
                  <a:moveTo>
                    <a:pt x="518" y="746"/>
                  </a:moveTo>
                  <a:cubicBezTo>
                    <a:pt x="393" y="746"/>
                    <a:pt x="292" y="644"/>
                    <a:pt x="292" y="520"/>
                  </a:cubicBezTo>
                  <a:cubicBezTo>
                    <a:pt x="292" y="396"/>
                    <a:pt x="393" y="294"/>
                    <a:pt x="518" y="294"/>
                  </a:cubicBezTo>
                  <a:cubicBezTo>
                    <a:pt x="642" y="294"/>
                    <a:pt x="744" y="396"/>
                    <a:pt x="744" y="520"/>
                  </a:cubicBezTo>
                  <a:cubicBezTo>
                    <a:pt x="744" y="644"/>
                    <a:pt x="642" y="746"/>
                    <a:pt x="518" y="74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6" name="Google Shape;296;p26"/>
            <p:cNvSpPr/>
            <p:nvPr/>
          </p:nvSpPr>
          <p:spPr>
            <a:xfrm>
              <a:off x="727075" y="2692400"/>
              <a:ext cx="1858964" cy="463550"/>
            </a:xfrm>
            <a:custGeom>
              <a:avLst/>
              <a:gdLst/>
              <a:ahLst/>
              <a:cxnLst/>
              <a:rect l="l" t="t" r="r" b="b"/>
              <a:pathLst>
                <a:path w="1418" h="354" extrusionOk="0">
                  <a:moveTo>
                    <a:pt x="0" y="346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36"/>
                    <a:pt x="36" y="0"/>
                    <a:pt x="80" y="0"/>
                  </a:cubicBezTo>
                  <a:cubicBezTo>
                    <a:pt x="1338" y="0"/>
                    <a:pt x="1338" y="0"/>
                    <a:pt x="1338" y="0"/>
                  </a:cubicBezTo>
                  <a:cubicBezTo>
                    <a:pt x="1382" y="0"/>
                    <a:pt x="1418" y="36"/>
                    <a:pt x="1418" y="80"/>
                  </a:cubicBezTo>
                  <a:cubicBezTo>
                    <a:pt x="1418" y="354"/>
                    <a:pt x="1418" y="354"/>
                    <a:pt x="1418" y="354"/>
                  </a:cubicBezTo>
                  <a:lnTo>
                    <a:pt x="0" y="346"/>
                  </a:ln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7" name="Google Shape;297;p26"/>
            <p:cNvSpPr/>
            <p:nvPr/>
          </p:nvSpPr>
          <p:spPr>
            <a:xfrm>
              <a:off x="727075" y="5195888"/>
              <a:ext cx="1858963" cy="463550"/>
            </a:xfrm>
            <a:custGeom>
              <a:avLst/>
              <a:gdLst/>
              <a:ahLst/>
              <a:cxnLst/>
              <a:rect l="l" t="t" r="r" b="b"/>
              <a:pathLst>
                <a:path w="1418" h="354" extrusionOk="0">
                  <a:moveTo>
                    <a:pt x="0" y="8"/>
                  </a:moveTo>
                  <a:cubicBezTo>
                    <a:pt x="0" y="274"/>
                    <a:pt x="0" y="274"/>
                    <a:pt x="0" y="274"/>
                  </a:cubicBezTo>
                  <a:cubicBezTo>
                    <a:pt x="0" y="318"/>
                    <a:pt x="36" y="354"/>
                    <a:pt x="80" y="354"/>
                  </a:cubicBezTo>
                  <a:cubicBezTo>
                    <a:pt x="1338" y="354"/>
                    <a:pt x="1338" y="354"/>
                    <a:pt x="1338" y="354"/>
                  </a:cubicBezTo>
                  <a:cubicBezTo>
                    <a:pt x="1382" y="354"/>
                    <a:pt x="1418" y="318"/>
                    <a:pt x="1418" y="274"/>
                  </a:cubicBezTo>
                  <a:cubicBezTo>
                    <a:pt x="1418" y="0"/>
                    <a:pt x="1418" y="0"/>
                    <a:pt x="1418" y="0"/>
                  </a:cubicBezTo>
                  <a:lnTo>
                    <a:pt x="0" y="8"/>
                  </a:ln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8" name="Google Shape;298;p26"/>
            <p:cNvSpPr/>
            <p:nvPr/>
          </p:nvSpPr>
          <p:spPr>
            <a:xfrm>
              <a:off x="655638" y="2620963"/>
              <a:ext cx="2009775" cy="3117850"/>
            </a:xfrm>
            <a:custGeom>
              <a:avLst/>
              <a:gdLst/>
              <a:ahLst/>
              <a:cxnLst/>
              <a:rect l="l" t="t" r="r" b="b"/>
              <a:pathLst>
                <a:path w="1532" h="2382" extrusionOk="0">
                  <a:moveTo>
                    <a:pt x="1532" y="201"/>
                  </a:moveTo>
                  <a:cubicBezTo>
                    <a:pt x="1532" y="2181"/>
                    <a:pt x="1532" y="2181"/>
                    <a:pt x="1532" y="2181"/>
                  </a:cubicBezTo>
                  <a:cubicBezTo>
                    <a:pt x="1532" y="2291"/>
                    <a:pt x="1442" y="2382"/>
                    <a:pt x="1331" y="2382"/>
                  </a:cubicBezTo>
                  <a:cubicBezTo>
                    <a:pt x="201" y="2382"/>
                    <a:pt x="201" y="2382"/>
                    <a:pt x="201" y="2382"/>
                  </a:cubicBezTo>
                  <a:cubicBezTo>
                    <a:pt x="90" y="2382"/>
                    <a:pt x="0" y="2291"/>
                    <a:pt x="0" y="2181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0" y="91"/>
                    <a:pt x="90" y="0"/>
                    <a:pt x="201" y="0"/>
                  </a:cubicBezTo>
                  <a:cubicBezTo>
                    <a:pt x="1331" y="0"/>
                    <a:pt x="1331" y="0"/>
                    <a:pt x="1331" y="0"/>
                  </a:cubicBezTo>
                  <a:cubicBezTo>
                    <a:pt x="1442" y="0"/>
                    <a:pt x="1532" y="91"/>
                    <a:pt x="1532" y="201"/>
                  </a:cubicBezTo>
                  <a:close/>
                  <a:moveTo>
                    <a:pt x="1451" y="2181"/>
                  </a:moveTo>
                  <a:cubicBezTo>
                    <a:pt x="1451" y="2016"/>
                    <a:pt x="1451" y="2016"/>
                    <a:pt x="1451" y="2016"/>
                  </a:cubicBezTo>
                  <a:cubicBezTo>
                    <a:pt x="81" y="2016"/>
                    <a:pt x="81" y="2016"/>
                    <a:pt x="81" y="2016"/>
                  </a:cubicBezTo>
                  <a:cubicBezTo>
                    <a:pt x="81" y="2181"/>
                    <a:pt x="81" y="2181"/>
                    <a:pt x="81" y="2181"/>
                  </a:cubicBezTo>
                  <a:cubicBezTo>
                    <a:pt x="81" y="2247"/>
                    <a:pt x="135" y="2301"/>
                    <a:pt x="201" y="2301"/>
                  </a:cubicBezTo>
                  <a:cubicBezTo>
                    <a:pt x="1331" y="2301"/>
                    <a:pt x="1331" y="2301"/>
                    <a:pt x="1331" y="2301"/>
                  </a:cubicBezTo>
                  <a:cubicBezTo>
                    <a:pt x="1397" y="2301"/>
                    <a:pt x="1451" y="2247"/>
                    <a:pt x="1451" y="2181"/>
                  </a:cubicBezTo>
                  <a:close/>
                  <a:moveTo>
                    <a:pt x="1451" y="1935"/>
                  </a:moveTo>
                  <a:cubicBezTo>
                    <a:pt x="1451" y="447"/>
                    <a:pt x="1451" y="447"/>
                    <a:pt x="1451" y="447"/>
                  </a:cubicBezTo>
                  <a:cubicBezTo>
                    <a:pt x="81" y="447"/>
                    <a:pt x="81" y="447"/>
                    <a:pt x="81" y="447"/>
                  </a:cubicBezTo>
                  <a:cubicBezTo>
                    <a:pt x="81" y="1935"/>
                    <a:pt x="81" y="1935"/>
                    <a:pt x="81" y="1935"/>
                  </a:cubicBezTo>
                  <a:lnTo>
                    <a:pt x="1451" y="1935"/>
                  </a:lnTo>
                  <a:close/>
                  <a:moveTo>
                    <a:pt x="1451" y="366"/>
                  </a:moveTo>
                  <a:cubicBezTo>
                    <a:pt x="1451" y="201"/>
                    <a:pt x="1451" y="201"/>
                    <a:pt x="1451" y="201"/>
                  </a:cubicBezTo>
                  <a:cubicBezTo>
                    <a:pt x="1451" y="135"/>
                    <a:pt x="1397" y="81"/>
                    <a:pt x="1331" y="81"/>
                  </a:cubicBezTo>
                  <a:cubicBezTo>
                    <a:pt x="201" y="81"/>
                    <a:pt x="201" y="81"/>
                    <a:pt x="201" y="81"/>
                  </a:cubicBezTo>
                  <a:cubicBezTo>
                    <a:pt x="135" y="81"/>
                    <a:pt x="81" y="135"/>
                    <a:pt x="81" y="201"/>
                  </a:cubicBezTo>
                  <a:cubicBezTo>
                    <a:pt x="81" y="366"/>
                    <a:pt x="81" y="366"/>
                    <a:pt x="81" y="366"/>
                  </a:cubicBezTo>
                  <a:lnTo>
                    <a:pt x="1451" y="366"/>
                  </a:lnTo>
                  <a:close/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9" name="Google Shape;299;p26"/>
            <p:cNvSpPr/>
            <p:nvPr/>
          </p:nvSpPr>
          <p:spPr>
            <a:xfrm>
              <a:off x="930275" y="3444875"/>
              <a:ext cx="1458913" cy="1462088"/>
            </a:xfrm>
            <a:custGeom>
              <a:avLst/>
              <a:gdLst/>
              <a:ahLst/>
              <a:cxnLst/>
              <a:rect l="l" t="t" r="r" b="b"/>
              <a:pathLst>
                <a:path w="1112" h="1117" extrusionOk="0">
                  <a:moveTo>
                    <a:pt x="1099" y="437"/>
                  </a:moveTo>
                  <a:cubicBezTo>
                    <a:pt x="1108" y="478"/>
                    <a:pt x="1112" y="519"/>
                    <a:pt x="1112" y="561"/>
                  </a:cubicBezTo>
                  <a:cubicBezTo>
                    <a:pt x="1112" y="603"/>
                    <a:pt x="1108" y="644"/>
                    <a:pt x="1099" y="685"/>
                  </a:cubicBezTo>
                  <a:cubicBezTo>
                    <a:pt x="1094" y="703"/>
                    <a:pt x="1078" y="716"/>
                    <a:pt x="1059" y="716"/>
                  </a:cubicBezTo>
                  <a:cubicBezTo>
                    <a:pt x="1009" y="716"/>
                    <a:pt x="1009" y="716"/>
                    <a:pt x="1009" y="716"/>
                  </a:cubicBezTo>
                  <a:cubicBezTo>
                    <a:pt x="1002" y="735"/>
                    <a:pt x="994" y="753"/>
                    <a:pt x="986" y="771"/>
                  </a:cubicBezTo>
                  <a:cubicBezTo>
                    <a:pt x="1021" y="807"/>
                    <a:pt x="1021" y="807"/>
                    <a:pt x="1021" y="807"/>
                  </a:cubicBezTo>
                  <a:cubicBezTo>
                    <a:pt x="1035" y="821"/>
                    <a:pt x="1037" y="841"/>
                    <a:pt x="1027" y="857"/>
                  </a:cubicBezTo>
                  <a:cubicBezTo>
                    <a:pt x="983" y="927"/>
                    <a:pt x="922" y="988"/>
                    <a:pt x="852" y="1032"/>
                  </a:cubicBezTo>
                  <a:cubicBezTo>
                    <a:pt x="836" y="1042"/>
                    <a:pt x="816" y="1040"/>
                    <a:pt x="802" y="1026"/>
                  </a:cubicBezTo>
                  <a:cubicBezTo>
                    <a:pt x="766" y="991"/>
                    <a:pt x="766" y="991"/>
                    <a:pt x="766" y="991"/>
                  </a:cubicBezTo>
                  <a:cubicBezTo>
                    <a:pt x="748" y="999"/>
                    <a:pt x="730" y="1007"/>
                    <a:pt x="711" y="1014"/>
                  </a:cubicBezTo>
                  <a:cubicBezTo>
                    <a:pt x="711" y="1064"/>
                    <a:pt x="711" y="1064"/>
                    <a:pt x="711" y="1064"/>
                  </a:cubicBezTo>
                  <a:cubicBezTo>
                    <a:pt x="711" y="1083"/>
                    <a:pt x="698" y="1099"/>
                    <a:pt x="680" y="1103"/>
                  </a:cubicBezTo>
                  <a:cubicBezTo>
                    <a:pt x="639" y="1113"/>
                    <a:pt x="598" y="1117"/>
                    <a:pt x="556" y="1117"/>
                  </a:cubicBezTo>
                  <a:cubicBezTo>
                    <a:pt x="514" y="1117"/>
                    <a:pt x="473" y="1113"/>
                    <a:pt x="432" y="1103"/>
                  </a:cubicBezTo>
                  <a:cubicBezTo>
                    <a:pt x="414" y="1099"/>
                    <a:pt x="401" y="1083"/>
                    <a:pt x="401" y="1064"/>
                  </a:cubicBezTo>
                  <a:cubicBezTo>
                    <a:pt x="401" y="1014"/>
                    <a:pt x="401" y="1014"/>
                    <a:pt x="401" y="1014"/>
                  </a:cubicBezTo>
                  <a:cubicBezTo>
                    <a:pt x="382" y="1007"/>
                    <a:pt x="364" y="999"/>
                    <a:pt x="346" y="991"/>
                  </a:cubicBezTo>
                  <a:cubicBezTo>
                    <a:pt x="310" y="1026"/>
                    <a:pt x="310" y="1026"/>
                    <a:pt x="310" y="1026"/>
                  </a:cubicBezTo>
                  <a:cubicBezTo>
                    <a:pt x="296" y="1040"/>
                    <a:pt x="276" y="1042"/>
                    <a:pt x="260" y="1032"/>
                  </a:cubicBezTo>
                  <a:cubicBezTo>
                    <a:pt x="190" y="988"/>
                    <a:pt x="129" y="927"/>
                    <a:pt x="85" y="857"/>
                  </a:cubicBezTo>
                  <a:cubicBezTo>
                    <a:pt x="75" y="841"/>
                    <a:pt x="77" y="821"/>
                    <a:pt x="91" y="807"/>
                  </a:cubicBezTo>
                  <a:cubicBezTo>
                    <a:pt x="126" y="772"/>
                    <a:pt x="126" y="772"/>
                    <a:pt x="126" y="772"/>
                  </a:cubicBezTo>
                  <a:cubicBezTo>
                    <a:pt x="118" y="753"/>
                    <a:pt x="110" y="735"/>
                    <a:pt x="103" y="716"/>
                  </a:cubicBezTo>
                  <a:cubicBezTo>
                    <a:pt x="53" y="716"/>
                    <a:pt x="53" y="716"/>
                    <a:pt x="53" y="716"/>
                  </a:cubicBezTo>
                  <a:cubicBezTo>
                    <a:pt x="34" y="716"/>
                    <a:pt x="18" y="703"/>
                    <a:pt x="14" y="685"/>
                  </a:cubicBezTo>
                  <a:cubicBezTo>
                    <a:pt x="4" y="644"/>
                    <a:pt x="0" y="603"/>
                    <a:pt x="0" y="561"/>
                  </a:cubicBezTo>
                  <a:cubicBezTo>
                    <a:pt x="0" y="519"/>
                    <a:pt x="4" y="478"/>
                    <a:pt x="14" y="437"/>
                  </a:cubicBezTo>
                  <a:cubicBezTo>
                    <a:pt x="18" y="419"/>
                    <a:pt x="34" y="406"/>
                    <a:pt x="53" y="406"/>
                  </a:cubicBezTo>
                  <a:cubicBezTo>
                    <a:pt x="103" y="406"/>
                    <a:pt x="103" y="406"/>
                    <a:pt x="103" y="406"/>
                  </a:cubicBezTo>
                  <a:cubicBezTo>
                    <a:pt x="110" y="387"/>
                    <a:pt x="118" y="369"/>
                    <a:pt x="126" y="351"/>
                  </a:cubicBezTo>
                  <a:cubicBezTo>
                    <a:pt x="91" y="315"/>
                    <a:pt x="91" y="315"/>
                    <a:pt x="91" y="315"/>
                  </a:cubicBezTo>
                  <a:cubicBezTo>
                    <a:pt x="77" y="301"/>
                    <a:pt x="75" y="281"/>
                    <a:pt x="85" y="265"/>
                  </a:cubicBezTo>
                  <a:cubicBezTo>
                    <a:pt x="129" y="195"/>
                    <a:pt x="190" y="134"/>
                    <a:pt x="260" y="90"/>
                  </a:cubicBezTo>
                  <a:cubicBezTo>
                    <a:pt x="276" y="80"/>
                    <a:pt x="296" y="82"/>
                    <a:pt x="310" y="96"/>
                  </a:cubicBezTo>
                  <a:cubicBezTo>
                    <a:pt x="346" y="131"/>
                    <a:pt x="346" y="131"/>
                    <a:pt x="346" y="131"/>
                  </a:cubicBezTo>
                  <a:cubicBezTo>
                    <a:pt x="364" y="123"/>
                    <a:pt x="382" y="115"/>
                    <a:pt x="401" y="108"/>
                  </a:cubicBezTo>
                  <a:cubicBezTo>
                    <a:pt x="401" y="58"/>
                    <a:pt x="401" y="58"/>
                    <a:pt x="401" y="58"/>
                  </a:cubicBezTo>
                  <a:cubicBezTo>
                    <a:pt x="401" y="39"/>
                    <a:pt x="414" y="23"/>
                    <a:pt x="432" y="19"/>
                  </a:cubicBezTo>
                  <a:cubicBezTo>
                    <a:pt x="513" y="0"/>
                    <a:pt x="599" y="0"/>
                    <a:pt x="680" y="19"/>
                  </a:cubicBezTo>
                  <a:cubicBezTo>
                    <a:pt x="698" y="23"/>
                    <a:pt x="711" y="39"/>
                    <a:pt x="711" y="58"/>
                  </a:cubicBezTo>
                  <a:cubicBezTo>
                    <a:pt x="711" y="108"/>
                    <a:pt x="711" y="108"/>
                    <a:pt x="711" y="108"/>
                  </a:cubicBezTo>
                  <a:cubicBezTo>
                    <a:pt x="730" y="115"/>
                    <a:pt x="748" y="123"/>
                    <a:pt x="766" y="131"/>
                  </a:cubicBezTo>
                  <a:cubicBezTo>
                    <a:pt x="802" y="96"/>
                    <a:pt x="802" y="96"/>
                    <a:pt x="802" y="96"/>
                  </a:cubicBezTo>
                  <a:cubicBezTo>
                    <a:pt x="816" y="82"/>
                    <a:pt x="836" y="80"/>
                    <a:pt x="852" y="90"/>
                  </a:cubicBezTo>
                  <a:cubicBezTo>
                    <a:pt x="922" y="134"/>
                    <a:pt x="983" y="195"/>
                    <a:pt x="1027" y="265"/>
                  </a:cubicBezTo>
                  <a:cubicBezTo>
                    <a:pt x="1037" y="281"/>
                    <a:pt x="1035" y="301"/>
                    <a:pt x="1021" y="315"/>
                  </a:cubicBezTo>
                  <a:cubicBezTo>
                    <a:pt x="986" y="351"/>
                    <a:pt x="986" y="351"/>
                    <a:pt x="986" y="351"/>
                  </a:cubicBezTo>
                  <a:cubicBezTo>
                    <a:pt x="994" y="369"/>
                    <a:pt x="1002" y="387"/>
                    <a:pt x="1009" y="406"/>
                  </a:cubicBezTo>
                  <a:cubicBezTo>
                    <a:pt x="1059" y="406"/>
                    <a:pt x="1059" y="406"/>
                    <a:pt x="1059" y="406"/>
                  </a:cubicBezTo>
                  <a:cubicBezTo>
                    <a:pt x="1078" y="406"/>
                    <a:pt x="1094" y="419"/>
                    <a:pt x="1099" y="437"/>
                  </a:cubicBezTo>
                  <a:close/>
                  <a:moveTo>
                    <a:pt x="1032" y="561"/>
                  </a:moveTo>
                  <a:cubicBezTo>
                    <a:pt x="1032" y="536"/>
                    <a:pt x="1030" y="511"/>
                    <a:pt x="1026" y="487"/>
                  </a:cubicBezTo>
                  <a:cubicBezTo>
                    <a:pt x="979" y="487"/>
                    <a:pt x="979" y="487"/>
                    <a:pt x="979" y="487"/>
                  </a:cubicBezTo>
                  <a:cubicBezTo>
                    <a:pt x="961" y="487"/>
                    <a:pt x="945" y="475"/>
                    <a:pt x="940" y="457"/>
                  </a:cubicBezTo>
                  <a:cubicBezTo>
                    <a:pt x="931" y="424"/>
                    <a:pt x="918" y="393"/>
                    <a:pt x="901" y="363"/>
                  </a:cubicBezTo>
                  <a:cubicBezTo>
                    <a:pt x="892" y="347"/>
                    <a:pt x="895" y="328"/>
                    <a:pt x="907" y="315"/>
                  </a:cubicBezTo>
                  <a:cubicBezTo>
                    <a:pt x="941" y="281"/>
                    <a:pt x="941" y="281"/>
                    <a:pt x="941" y="281"/>
                  </a:cubicBezTo>
                  <a:cubicBezTo>
                    <a:pt x="912" y="241"/>
                    <a:pt x="876" y="206"/>
                    <a:pt x="836" y="176"/>
                  </a:cubicBezTo>
                  <a:cubicBezTo>
                    <a:pt x="802" y="210"/>
                    <a:pt x="802" y="210"/>
                    <a:pt x="802" y="210"/>
                  </a:cubicBezTo>
                  <a:cubicBezTo>
                    <a:pt x="790" y="222"/>
                    <a:pt x="770" y="225"/>
                    <a:pt x="754" y="216"/>
                  </a:cubicBezTo>
                  <a:cubicBezTo>
                    <a:pt x="724" y="199"/>
                    <a:pt x="693" y="186"/>
                    <a:pt x="660" y="177"/>
                  </a:cubicBezTo>
                  <a:cubicBezTo>
                    <a:pt x="642" y="172"/>
                    <a:pt x="630" y="156"/>
                    <a:pt x="630" y="138"/>
                  </a:cubicBezTo>
                  <a:cubicBezTo>
                    <a:pt x="630" y="91"/>
                    <a:pt x="630" y="91"/>
                    <a:pt x="630" y="91"/>
                  </a:cubicBezTo>
                  <a:cubicBezTo>
                    <a:pt x="581" y="83"/>
                    <a:pt x="531" y="83"/>
                    <a:pt x="482" y="91"/>
                  </a:cubicBezTo>
                  <a:cubicBezTo>
                    <a:pt x="482" y="138"/>
                    <a:pt x="482" y="138"/>
                    <a:pt x="482" y="138"/>
                  </a:cubicBezTo>
                  <a:cubicBezTo>
                    <a:pt x="482" y="156"/>
                    <a:pt x="469" y="172"/>
                    <a:pt x="452" y="177"/>
                  </a:cubicBezTo>
                  <a:cubicBezTo>
                    <a:pt x="419" y="186"/>
                    <a:pt x="388" y="199"/>
                    <a:pt x="358" y="216"/>
                  </a:cubicBezTo>
                  <a:cubicBezTo>
                    <a:pt x="342" y="225"/>
                    <a:pt x="322" y="222"/>
                    <a:pt x="310" y="210"/>
                  </a:cubicBezTo>
                  <a:cubicBezTo>
                    <a:pt x="276" y="176"/>
                    <a:pt x="276" y="176"/>
                    <a:pt x="276" y="176"/>
                  </a:cubicBezTo>
                  <a:cubicBezTo>
                    <a:pt x="236" y="205"/>
                    <a:pt x="200" y="241"/>
                    <a:pt x="171" y="281"/>
                  </a:cubicBezTo>
                  <a:cubicBezTo>
                    <a:pt x="205" y="315"/>
                    <a:pt x="205" y="315"/>
                    <a:pt x="205" y="315"/>
                  </a:cubicBezTo>
                  <a:cubicBezTo>
                    <a:pt x="217" y="327"/>
                    <a:pt x="220" y="347"/>
                    <a:pt x="211" y="363"/>
                  </a:cubicBezTo>
                  <a:cubicBezTo>
                    <a:pt x="194" y="393"/>
                    <a:pt x="181" y="424"/>
                    <a:pt x="172" y="457"/>
                  </a:cubicBezTo>
                  <a:cubicBezTo>
                    <a:pt x="167" y="475"/>
                    <a:pt x="151" y="487"/>
                    <a:pt x="133" y="487"/>
                  </a:cubicBezTo>
                  <a:cubicBezTo>
                    <a:pt x="86" y="487"/>
                    <a:pt x="86" y="487"/>
                    <a:pt x="86" y="487"/>
                  </a:cubicBezTo>
                  <a:cubicBezTo>
                    <a:pt x="82" y="511"/>
                    <a:pt x="80" y="536"/>
                    <a:pt x="80" y="561"/>
                  </a:cubicBezTo>
                  <a:cubicBezTo>
                    <a:pt x="80" y="586"/>
                    <a:pt x="82" y="611"/>
                    <a:pt x="86" y="635"/>
                  </a:cubicBezTo>
                  <a:cubicBezTo>
                    <a:pt x="133" y="635"/>
                    <a:pt x="133" y="635"/>
                    <a:pt x="133" y="635"/>
                  </a:cubicBezTo>
                  <a:cubicBezTo>
                    <a:pt x="151" y="635"/>
                    <a:pt x="167" y="648"/>
                    <a:pt x="172" y="665"/>
                  </a:cubicBezTo>
                  <a:cubicBezTo>
                    <a:pt x="181" y="698"/>
                    <a:pt x="194" y="729"/>
                    <a:pt x="211" y="759"/>
                  </a:cubicBezTo>
                  <a:cubicBezTo>
                    <a:pt x="220" y="775"/>
                    <a:pt x="217" y="795"/>
                    <a:pt x="205" y="807"/>
                  </a:cubicBezTo>
                  <a:cubicBezTo>
                    <a:pt x="171" y="841"/>
                    <a:pt x="171" y="841"/>
                    <a:pt x="171" y="841"/>
                  </a:cubicBezTo>
                  <a:cubicBezTo>
                    <a:pt x="200" y="881"/>
                    <a:pt x="236" y="916"/>
                    <a:pt x="276" y="946"/>
                  </a:cubicBezTo>
                  <a:cubicBezTo>
                    <a:pt x="310" y="913"/>
                    <a:pt x="310" y="913"/>
                    <a:pt x="310" y="913"/>
                  </a:cubicBezTo>
                  <a:cubicBezTo>
                    <a:pt x="322" y="900"/>
                    <a:pt x="342" y="897"/>
                    <a:pt x="358" y="906"/>
                  </a:cubicBezTo>
                  <a:cubicBezTo>
                    <a:pt x="388" y="923"/>
                    <a:pt x="419" y="936"/>
                    <a:pt x="452" y="945"/>
                  </a:cubicBezTo>
                  <a:cubicBezTo>
                    <a:pt x="469" y="950"/>
                    <a:pt x="482" y="966"/>
                    <a:pt x="482" y="984"/>
                  </a:cubicBezTo>
                  <a:cubicBezTo>
                    <a:pt x="482" y="1031"/>
                    <a:pt x="482" y="1031"/>
                    <a:pt x="482" y="1031"/>
                  </a:cubicBezTo>
                  <a:cubicBezTo>
                    <a:pt x="531" y="1039"/>
                    <a:pt x="581" y="1039"/>
                    <a:pt x="630" y="1031"/>
                  </a:cubicBezTo>
                  <a:cubicBezTo>
                    <a:pt x="630" y="984"/>
                    <a:pt x="630" y="984"/>
                    <a:pt x="630" y="984"/>
                  </a:cubicBezTo>
                  <a:cubicBezTo>
                    <a:pt x="630" y="966"/>
                    <a:pt x="642" y="950"/>
                    <a:pt x="660" y="945"/>
                  </a:cubicBezTo>
                  <a:cubicBezTo>
                    <a:pt x="693" y="936"/>
                    <a:pt x="724" y="923"/>
                    <a:pt x="754" y="906"/>
                  </a:cubicBezTo>
                  <a:cubicBezTo>
                    <a:pt x="770" y="897"/>
                    <a:pt x="790" y="900"/>
                    <a:pt x="802" y="912"/>
                  </a:cubicBezTo>
                  <a:cubicBezTo>
                    <a:pt x="836" y="946"/>
                    <a:pt x="836" y="946"/>
                    <a:pt x="836" y="946"/>
                  </a:cubicBezTo>
                  <a:cubicBezTo>
                    <a:pt x="876" y="916"/>
                    <a:pt x="912" y="881"/>
                    <a:pt x="941" y="841"/>
                  </a:cubicBezTo>
                  <a:cubicBezTo>
                    <a:pt x="907" y="807"/>
                    <a:pt x="907" y="807"/>
                    <a:pt x="907" y="807"/>
                  </a:cubicBezTo>
                  <a:cubicBezTo>
                    <a:pt x="895" y="795"/>
                    <a:pt x="892" y="775"/>
                    <a:pt x="901" y="759"/>
                  </a:cubicBezTo>
                  <a:cubicBezTo>
                    <a:pt x="918" y="729"/>
                    <a:pt x="931" y="698"/>
                    <a:pt x="940" y="665"/>
                  </a:cubicBezTo>
                  <a:cubicBezTo>
                    <a:pt x="945" y="648"/>
                    <a:pt x="961" y="635"/>
                    <a:pt x="979" y="635"/>
                  </a:cubicBezTo>
                  <a:cubicBezTo>
                    <a:pt x="1026" y="635"/>
                    <a:pt x="1026" y="635"/>
                    <a:pt x="1026" y="635"/>
                  </a:cubicBezTo>
                  <a:cubicBezTo>
                    <a:pt x="1030" y="611"/>
                    <a:pt x="1032" y="586"/>
                    <a:pt x="1032" y="561"/>
                  </a:cubicBezTo>
                  <a:close/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0" name="Google Shape;300;p26"/>
            <p:cNvSpPr/>
            <p:nvPr/>
          </p:nvSpPr>
          <p:spPr>
            <a:xfrm>
              <a:off x="1258888" y="3779838"/>
              <a:ext cx="803275" cy="800100"/>
            </a:xfrm>
            <a:custGeom>
              <a:avLst/>
              <a:gdLst/>
              <a:ahLst/>
              <a:cxnLst/>
              <a:rect l="l" t="t" r="r" b="b"/>
              <a:pathLst>
                <a:path w="612" h="612" extrusionOk="0">
                  <a:moveTo>
                    <a:pt x="306" y="0"/>
                  </a:moveTo>
                  <a:cubicBezTo>
                    <a:pt x="475" y="0"/>
                    <a:pt x="612" y="137"/>
                    <a:pt x="612" y="306"/>
                  </a:cubicBezTo>
                  <a:cubicBezTo>
                    <a:pt x="612" y="475"/>
                    <a:pt x="475" y="612"/>
                    <a:pt x="306" y="612"/>
                  </a:cubicBezTo>
                  <a:cubicBezTo>
                    <a:pt x="137" y="612"/>
                    <a:pt x="0" y="475"/>
                    <a:pt x="0" y="306"/>
                  </a:cubicBezTo>
                  <a:cubicBezTo>
                    <a:pt x="0" y="137"/>
                    <a:pt x="137" y="0"/>
                    <a:pt x="306" y="0"/>
                  </a:cubicBezTo>
                  <a:close/>
                  <a:moveTo>
                    <a:pt x="532" y="306"/>
                  </a:moveTo>
                  <a:cubicBezTo>
                    <a:pt x="532" y="182"/>
                    <a:pt x="430" y="80"/>
                    <a:pt x="306" y="80"/>
                  </a:cubicBezTo>
                  <a:cubicBezTo>
                    <a:pt x="181" y="80"/>
                    <a:pt x="80" y="182"/>
                    <a:pt x="80" y="306"/>
                  </a:cubicBezTo>
                  <a:cubicBezTo>
                    <a:pt x="80" y="430"/>
                    <a:pt x="181" y="532"/>
                    <a:pt x="306" y="532"/>
                  </a:cubicBezTo>
                  <a:cubicBezTo>
                    <a:pt x="430" y="532"/>
                    <a:pt x="532" y="430"/>
                    <a:pt x="532" y="306"/>
                  </a:cubicBezTo>
                  <a:close/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1" name="Google Shape;301;p26"/>
            <p:cNvSpPr/>
            <p:nvPr/>
          </p:nvSpPr>
          <p:spPr>
            <a:xfrm>
              <a:off x="1382712" y="2860674"/>
              <a:ext cx="555625" cy="106362"/>
            </a:xfrm>
            <a:custGeom>
              <a:avLst/>
              <a:gdLst/>
              <a:ahLst/>
              <a:cxnLst/>
              <a:rect l="l" t="t" r="r" b="b"/>
              <a:pathLst>
                <a:path w="424" h="81" extrusionOk="0">
                  <a:moveTo>
                    <a:pt x="384" y="0"/>
                  </a:moveTo>
                  <a:cubicBezTo>
                    <a:pt x="406" y="0"/>
                    <a:pt x="424" y="18"/>
                    <a:pt x="424" y="41"/>
                  </a:cubicBezTo>
                  <a:cubicBezTo>
                    <a:pt x="424" y="63"/>
                    <a:pt x="406" y="81"/>
                    <a:pt x="384" y="81"/>
                  </a:cubicBezTo>
                  <a:cubicBezTo>
                    <a:pt x="40" y="81"/>
                    <a:pt x="40" y="81"/>
                    <a:pt x="40" y="81"/>
                  </a:cubicBezTo>
                  <a:cubicBezTo>
                    <a:pt x="18" y="81"/>
                    <a:pt x="0" y="63"/>
                    <a:pt x="0" y="41"/>
                  </a:cubicBezTo>
                  <a:cubicBezTo>
                    <a:pt x="0" y="18"/>
                    <a:pt x="18" y="0"/>
                    <a:pt x="40" y="0"/>
                  </a:cubicBezTo>
                  <a:lnTo>
                    <a:pt x="384" y="0"/>
                  </a:lnTo>
                  <a:close/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07" name="Picture 2" descr="Image result for microsoft word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5417" y="2929564"/>
            <a:ext cx="329590" cy="329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67352" y="4023316"/>
            <a:ext cx="351725" cy="351725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697221" y="4051907"/>
            <a:ext cx="316145" cy="30503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7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108908" y="2917679"/>
            <a:ext cx="339352" cy="339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306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3" name="Google Shape;173;p27"/>
          <p:cNvGrpSpPr/>
          <p:nvPr/>
        </p:nvGrpSpPr>
        <p:grpSpPr>
          <a:xfrm>
            <a:off x="1169740" y="695325"/>
            <a:ext cx="3362325" cy="3752850"/>
            <a:chOff x="1333500" y="647700"/>
            <a:chExt cx="4483100" cy="5003800"/>
          </a:xfrm>
        </p:grpSpPr>
        <p:sp>
          <p:nvSpPr>
            <p:cNvPr id="174" name="Google Shape;174;p27"/>
            <p:cNvSpPr/>
            <p:nvPr/>
          </p:nvSpPr>
          <p:spPr>
            <a:xfrm>
              <a:off x="1333500" y="647700"/>
              <a:ext cx="4483100" cy="5003800"/>
            </a:xfrm>
            <a:prstGeom prst="roundRect">
              <a:avLst>
                <a:gd name="adj" fmla="val 3204"/>
              </a:avLst>
            </a:prstGeom>
            <a:solidFill>
              <a:schemeClr val="lt2"/>
            </a:solidFill>
            <a:ln>
              <a:noFill/>
            </a:ln>
            <a:effectLst>
              <a:outerShdw blurRad="241300" dist="127000" dir="4800000" algn="t" rotWithShape="0">
                <a:srgbClr val="000000">
                  <a:alpha val="23921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175;p27"/>
            <p:cNvSpPr/>
            <p:nvPr/>
          </p:nvSpPr>
          <p:spPr>
            <a:xfrm>
              <a:off x="1333500" y="2844798"/>
              <a:ext cx="4483100" cy="1103921"/>
            </a:xfrm>
            <a:prstGeom prst="rect">
              <a:avLst/>
            </a:prstGeom>
            <a:solidFill>
              <a:srgbClr val="1D6DB2"/>
            </a:soli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r>
                <a:rPr lang="en-US" sz="2400">
                  <a:solidFill>
                    <a:srgbClr val="FFFFFF"/>
                  </a:solidFill>
                </a:rPr>
                <a:t>   </a:t>
              </a:r>
              <a:endParaRPr sz="24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176" name="Google Shape;176;p27"/>
            <p:cNvCxnSpPr/>
            <p:nvPr/>
          </p:nvCxnSpPr>
          <p:spPr>
            <a:xfrm rot="10800000" flipH="1">
              <a:off x="1333500" y="5292727"/>
              <a:ext cx="4483100" cy="14892"/>
            </a:xfrm>
            <a:prstGeom prst="straightConnector1">
              <a:avLst/>
            </a:prstGeom>
            <a:noFill/>
            <a:ln w="9525" cap="flat" cmpd="sng">
              <a:solidFill>
                <a:schemeClr val="accent5">
                  <a:lumMod val="75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sp>
          <p:nvSpPr>
            <p:cNvPr id="177" name="Google Shape;177;p27"/>
            <p:cNvSpPr/>
            <p:nvPr/>
          </p:nvSpPr>
          <p:spPr>
            <a:xfrm>
              <a:off x="1567888" y="4006288"/>
              <a:ext cx="3644900" cy="92333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algn="just"/>
              <a:endParaRPr lang="en-US" sz="1200" dirty="0" smtClean="0">
                <a:solidFill>
                  <a:srgbClr val="595959"/>
                </a:solidFill>
              </a:endParaRPr>
            </a:p>
          </p:txBody>
        </p:sp>
        <p:grpSp>
          <p:nvGrpSpPr>
            <p:cNvPr id="178" name="Google Shape;178;p27"/>
            <p:cNvGrpSpPr/>
            <p:nvPr/>
          </p:nvGrpSpPr>
          <p:grpSpPr>
            <a:xfrm>
              <a:off x="1838108" y="3060476"/>
              <a:ext cx="3559265" cy="707886"/>
              <a:chOff x="1689099" y="3060476"/>
              <a:chExt cx="3559265" cy="707886"/>
            </a:xfrm>
          </p:grpSpPr>
          <p:sp>
            <p:nvSpPr>
              <p:cNvPr id="179" name="Google Shape;179;p27"/>
              <p:cNvSpPr/>
              <p:nvPr/>
            </p:nvSpPr>
            <p:spPr>
              <a:xfrm>
                <a:off x="1689099" y="3060476"/>
                <a:ext cx="774701" cy="70788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pPr algn="ctr"/>
                <a:r>
                  <a:rPr lang="en-US" sz="3000">
                    <a:solidFill>
                      <a:srgbClr val="E7E6E6"/>
                    </a:solidFill>
                  </a:rPr>
                  <a:t>01</a:t>
                </a:r>
                <a:endParaRPr sz="1050"/>
              </a:p>
            </p:txBody>
          </p:sp>
          <p:cxnSp>
            <p:nvCxnSpPr>
              <p:cNvPr id="180" name="Google Shape;180;p27"/>
              <p:cNvCxnSpPr/>
              <p:nvPr/>
            </p:nvCxnSpPr>
            <p:spPr>
              <a:xfrm>
                <a:off x="2476500" y="3104371"/>
                <a:ext cx="0" cy="584775"/>
              </a:xfrm>
              <a:prstGeom prst="straightConnector1">
                <a:avLst/>
              </a:prstGeom>
              <a:noFill/>
              <a:ln w="28575" cap="flat" cmpd="sng">
                <a:solidFill>
                  <a:schemeClr val="lt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181" name="Google Shape;181;p27"/>
              <p:cNvSpPr/>
              <p:nvPr/>
            </p:nvSpPr>
            <p:spPr>
              <a:xfrm>
                <a:off x="2541764" y="3091250"/>
                <a:ext cx="2706600" cy="6462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r>
                  <a:rPr lang="en-US" sz="2700" dirty="0" smtClean="0">
                    <a:solidFill>
                      <a:srgbClr val="FFFFFF"/>
                    </a:solidFill>
                  </a:rPr>
                  <a:t>Applications</a:t>
                </a:r>
                <a:endParaRPr sz="1050" dirty="0"/>
              </a:p>
            </p:txBody>
          </p:sp>
        </p:grpSp>
        <p:sp>
          <p:nvSpPr>
            <p:cNvPr id="182" name="Google Shape;182;p27"/>
            <p:cNvSpPr/>
            <p:nvPr/>
          </p:nvSpPr>
          <p:spPr>
            <a:xfrm>
              <a:off x="5296500" y="1715530"/>
              <a:ext cx="365760" cy="365760"/>
            </a:xfrm>
            <a:prstGeom prst="ellipse">
              <a:avLst/>
            </a:prstGeom>
            <a:solidFill>
              <a:schemeClr val="lt2"/>
            </a:solidFill>
            <a:ln w="38100" cap="flat" cmpd="sng">
              <a:solidFill>
                <a:schemeClr val="accent5">
                  <a:lumMod val="75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183;p27"/>
            <p:cNvSpPr/>
            <p:nvPr/>
          </p:nvSpPr>
          <p:spPr>
            <a:xfrm>
              <a:off x="5296500" y="4712227"/>
              <a:ext cx="365760" cy="365760"/>
            </a:xfrm>
            <a:prstGeom prst="ellipse">
              <a:avLst/>
            </a:prstGeom>
            <a:solidFill>
              <a:schemeClr val="lt2"/>
            </a:solidFill>
            <a:ln w="38100" cap="flat" cmpd="sng">
              <a:solidFill>
                <a:schemeClr val="accent5">
                  <a:lumMod val="75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84" name="Google Shape;184;p27"/>
          <p:cNvGrpSpPr/>
          <p:nvPr/>
        </p:nvGrpSpPr>
        <p:grpSpPr>
          <a:xfrm>
            <a:off x="4611935" y="695325"/>
            <a:ext cx="3362325" cy="3752850"/>
            <a:chOff x="6121400" y="647700"/>
            <a:chExt cx="4483100" cy="5003800"/>
          </a:xfrm>
        </p:grpSpPr>
        <p:sp>
          <p:nvSpPr>
            <p:cNvPr id="185" name="Google Shape;185;p27"/>
            <p:cNvSpPr/>
            <p:nvPr/>
          </p:nvSpPr>
          <p:spPr>
            <a:xfrm>
              <a:off x="6121400" y="647700"/>
              <a:ext cx="4483100" cy="5003800"/>
            </a:xfrm>
            <a:prstGeom prst="roundRect">
              <a:avLst>
                <a:gd name="adj" fmla="val 3204"/>
              </a:avLst>
            </a:prstGeom>
            <a:solidFill>
              <a:schemeClr val="lt2"/>
            </a:solidFill>
            <a:ln>
              <a:noFill/>
            </a:ln>
            <a:effectLst>
              <a:outerShdw blurRad="241300" dist="127000" dir="4800000" algn="t" rotWithShape="0">
                <a:srgbClr val="000000">
                  <a:alpha val="23921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186;p27"/>
            <p:cNvSpPr/>
            <p:nvPr/>
          </p:nvSpPr>
          <p:spPr>
            <a:xfrm>
              <a:off x="6121400" y="2844798"/>
              <a:ext cx="4483100" cy="110392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r>
                <a:rPr lang="en-US" sz="2400">
                  <a:solidFill>
                    <a:srgbClr val="FFFFFF"/>
                  </a:solidFill>
                </a:rPr>
                <a:t>   </a:t>
              </a:r>
              <a:endParaRPr sz="24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88" name="Google Shape;188;p27"/>
            <p:cNvGrpSpPr/>
            <p:nvPr/>
          </p:nvGrpSpPr>
          <p:grpSpPr>
            <a:xfrm>
              <a:off x="6626008" y="3060476"/>
              <a:ext cx="3779967" cy="707886"/>
              <a:chOff x="1689099" y="3060476"/>
              <a:chExt cx="3779967" cy="707886"/>
            </a:xfrm>
          </p:grpSpPr>
          <p:sp>
            <p:nvSpPr>
              <p:cNvPr id="189" name="Google Shape;189;p27"/>
              <p:cNvSpPr/>
              <p:nvPr/>
            </p:nvSpPr>
            <p:spPr>
              <a:xfrm>
                <a:off x="1689099" y="3060476"/>
                <a:ext cx="774701" cy="70788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pPr algn="ctr"/>
                <a:r>
                  <a:rPr lang="en-US" sz="3000">
                    <a:solidFill>
                      <a:srgbClr val="E7E6E6"/>
                    </a:solidFill>
                  </a:rPr>
                  <a:t>02</a:t>
                </a:r>
                <a:endParaRPr sz="1050"/>
              </a:p>
            </p:txBody>
          </p:sp>
          <p:cxnSp>
            <p:nvCxnSpPr>
              <p:cNvPr id="190" name="Google Shape;190;p27"/>
              <p:cNvCxnSpPr/>
              <p:nvPr/>
            </p:nvCxnSpPr>
            <p:spPr>
              <a:xfrm>
                <a:off x="2476500" y="3104371"/>
                <a:ext cx="0" cy="584775"/>
              </a:xfrm>
              <a:prstGeom prst="straightConnector1">
                <a:avLst/>
              </a:prstGeom>
              <a:noFill/>
              <a:ln w="28575" cap="flat" cmpd="sng">
                <a:solidFill>
                  <a:schemeClr val="lt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191" name="Google Shape;191;p27"/>
              <p:cNvSpPr/>
              <p:nvPr/>
            </p:nvSpPr>
            <p:spPr>
              <a:xfrm>
                <a:off x="2541742" y="3091251"/>
                <a:ext cx="2927324" cy="6461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r>
                  <a:rPr lang="en-US" sz="2700" dirty="0">
                    <a:solidFill>
                      <a:schemeClr val="lt1"/>
                    </a:solidFill>
                  </a:rPr>
                  <a:t>Input </a:t>
                </a:r>
                <a:r>
                  <a:rPr lang="en-US" sz="2700" dirty="0" smtClean="0">
                    <a:solidFill>
                      <a:schemeClr val="lt1"/>
                    </a:solidFill>
                  </a:rPr>
                  <a:t>Data</a:t>
                </a:r>
                <a:endParaRPr lang="en-US" sz="1050" dirty="0"/>
              </a:p>
            </p:txBody>
          </p:sp>
        </p:grpSp>
        <p:sp>
          <p:nvSpPr>
            <p:cNvPr id="192" name="Google Shape;192;p27"/>
            <p:cNvSpPr/>
            <p:nvPr/>
          </p:nvSpPr>
          <p:spPr>
            <a:xfrm flipH="1">
              <a:off x="6288823" y="1715530"/>
              <a:ext cx="365760" cy="365760"/>
            </a:xfrm>
            <a:prstGeom prst="ellipse">
              <a:avLst/>
            </a:prstGeom>
            <a:solidFill>
              <a:schemeClr val="lt2"/>
            </a:solidFill>
            <a:ln w="38100" cap="flat" cmpd="sng">
              <a:solidFill>
                <a:schemeClr val="accent5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193;p27"/>
            <p:cNvSpPr/>
            <p:nvPr/>
          </p:nvSpPr>
          <p:spPr>
            <a:xfrm flipH="1">
              <a:off x="6288823" y="4712227"/>
              <a:ext cx="365760" cy="365760"/>
            </a:xfrm>
            <a:prstGeom prst="ellipse">
              <a:avLst/>
            </a:prstGeom>
            <a:solidFill>
              <a:schemeClr val="lt2"/>
            </a:solidFill>
            <a:ln w="38100" cap="flat" cmpd="sng">
              <a:solidFill>
                <a:schemeClr val="accent5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194" name="Google Shape;194;p27"/>
            <p:cNvCxnSpPr/>
            <p:nvPr/>
          </p:nvCxnSpPr>
          <p:spPr>
            <a:xfrm rot="10800000" flipH="1">
              <a:off x="6121400" y="5292727"/>
              <a:ext cx="4483100" cy="14892"/>
            </a:xfrm>
            <a:prstGeom prst="straightConnector1">
              <a:avLst/>
            </a:prstGeom>
            <a:noFill/>
            <a:ln w="9525" cap="flat" cmpd="sng">
              <a:solidFill>
                <a:schemeClr val="accent5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195" name="Google Shape;195;p27"/>
          <p:cNvSpPr/>
          <p:nvPr/>
        </p:nvSpPr>
        <p:spPr>
          <a:xfrm>
            <a:off x="4259158" y="1547490"/>
            <a:ext cx="617220" cy="17145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BFBFBF"/>
              </a:gs>
              <a:gs pos="16000">
                <a:srgbClr val="BFBFBF"/>
              </a:gs>
              <a:gs pos="50000">
                <a:schemeClr val="lt1"/>
              </a:gs>
              <a:gs pos="84000">
                <a:srgbClr val="BFBFBF"/>
              </a:gs>
              <a:gs pos="100000">
                <a:srgbClr val="BFBFBF"/>
              </a:gs>
            </a:gsLst>
            <a:lin ang="0" scaled="0"/>
          </a:gra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6" name="Google Shape;196;p27"/>
          <p:cNvSpPr/>
          <p:nvPr/>
        </p:nvSpPr>
        <p:spPr>
          <a:xfrm>
            <a:off x="4259158" y="3803276"/>
            <a:ext cx="617220" cy="17145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BFBFBF"/>
              </a:gs>
              <a:gs pos="16000">
                <a:srgbClr val="BFBFBF"/>
              </a:gs>
              <a:gs pos="50000">
                <a:schemeClr val="lt1"/>
              </a:gs>
              <a:gs pos="84000">
                <a:srgbClr val="BFBFBF"/>
              </a:gs>
              <a:gs pos="100000">
                <a:srgbClr val="BFBFBF"/>
              </a:gs>
            </a:gsLst>
            <a:lin ang="0" scaled="0"/>
          </a:gra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4073236" y="124687"/>
            <a:ext cx="1246909" cy="259773"/>
          </a:xfrm>
          <a:prstGeom prst="rect">
            <a:avLst/>
          </a:prstGeom>
          <a:solidFill>
            <a:srgbClr val="000000">
              <a:lumMod val="50000"/>
              <a:lumOff val="5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COVERY</a:t>
            </a:r>
          </a:p>
        </p:txBody>
      </p:sp>
      <p:sp>
        <p:nvSpPr>
          <p:cNvPr id="31" name="Rectangle 30"/>
          <p:cNvSpPr/>
          <p:nvPr/>
        </p:nvSpPr>
        <p:spPr>
          <a:xfrm>
            <a:off x="6567054" y="120997"/>
            <a:ext cx="1246909" cy="259773"/>
          </a:xfrm>
          <a:prstGeom prst="rect">
            <a:avLst/>
          </a:prstGeom>
          <a:solidFill>
            <a:srgbClr val="000000">
              <a:lumMod val="50000"/>
              <a:lumOff val="5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LEMENTATION</a:t>
            </a:r>
          </a:p>
        </p:txBody>
      </p:sp>
      <p:sp>
        <p:nvSpPr>
          <p:cNvPr id="32" name="Rectangle 31"/>
          <p:cNvSpPr/>
          <p:nvPr/>
        </p:nvSpPr>
        <p:spPr>
          <a:xfrm>
            <a:off x="7813963" y="120997"/>
            <a:ext cx="1246909" cy="259773"/>
          </a:xfrm>
          <a:prstGeom prst="rect">
            <a:avLst/>
          </a:prstGeom>
          <a:solidFill>
            <a:srgbClr val="000000">
              <a:lumMod val="50000"/>
              <a:lumOff val="5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ERATIONS</a:t>
            </a:r>
          </a:p>
        </p:txBody>
      </p:sp>
      <p:sp>
        <p:nvSpPr>
          <p:cNvPr id="33" name="Google Shape;59;p14"/>
          <p:cNvSpPr txBox="1">
            <a:spLocks/>
          </p:cNvSpPr>
          <p:nvPr/>
        </p:nvSpPr>
        <p:spPr>
          <a:xfrm>
            <a:off x="2004" y="4575074"/>
            <a:ext cx="9141995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800" b="1" dirty="0" smtClean="0">
                <a:solidFill>
                  <a:schemeClr val="bg1"/>
                </a:solidFill>
              </a:rPr>
              <a:t>BASIC INFORMATION FOR PROCESS SELECTION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36" name="Google Shape;177;p27"/>
          <p:cNvSpPr/>
          <p:nvPr/>
        </p:nvSpPr>
        <p:spPr>
          <a:xfrm>
            <a:off x="1328445" y="3283797"/>
            <a:ext cx="2733675" cy="692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sz="800" dirty="0" smtClean="0"/>
              <a:t>SYSTEM APPLICATION (MICROSOFT)</a:t>
            </a:r>
            <a:endParaRPr lang="en-PH" sz="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sz="800" dirty="0"/>
              <a:t>SYSTEM </a:t>
            </a:r>
            <a:r>
              <a:rPr lang="en-PH" sz="800" dirty="0" smtClean="0"/>
              <a:t>APPLICATION (NON-MICROSOFT)</a:t>
            </a:r>
            <a:endParaRPr lang="en-PH" sz="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sz="800" dirty="0" smtClean="0"/>
              <a:t>WEB APPLIC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sz="800" dirty="0" smtClean="0"/>
              <a:t>SA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sz="800" dirty="0" smtClean="0"/>
              <a:t>MAINFRAME</a:t>
            </a:r>
          </a:p>
        </p:txBody>
      </p:sp>
      <p:sp>
        <p:nvSpPr>
          <p:cNvPr id="38" name="Google Shape;177;p27"/>
          <p:cNvSpPr/>
          <p:nvPr/>
        </p:nvSpPr>
        <p:spPr>
          <a:xfrm>
            <a:off x="5079327" y="3243319"/>
            <a:ext cx="2733675" cy="692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algn="just"/>
            <a:endParaRPr lang="en-US" sz="1200" dirty="0" smtClean="0">
              <a:solidFill>
                <a:srgbClr val="595959"/>
              </a:solidFill>
            </a:endParaRPr>
          </a:p>
        </p:txBody>
      </p:sp>
      <p:sp>
        <p:nvSpPr>
          <p:cNvPr id="39" name="Google Shape;177;p27"/>
          <p:cNvSpPr/>
          <p:nvPr/>
        </p:nvSpPr>
        <p:spPr>
          <a:xfrm>
            <a:off x="5091692" y="1307729"/>
            <a:ext cx="2733675" cy="692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algn="ctr"/>
            <a:r>
              <a:rPr lang="en-PH" sz="1300" dirty="0"/>
              <a:t>DATA BEING PROCESSED</a:t>
            </a:r>
          </a:p>
        </p:txBody>
      </p:sp>
      <p:sp>
        <p:nvSpPr>
          <p:cNvPr id="35" name="Rectangle 34"/>
          <p:cNvSpPr/>
          <p:nvPr/>
        </p:nvSpPr>
        <p:spPr>
          <a:xfrm>
            <a:off x="5320145" y="122842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OLUTIONING</a:t>
            </a:r>
            <a:endParaRPr lang="en-US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2826327" y="122842"/>
            <a:ext cx="1246909" cy="259773"/>
          </a:xfrm>
          <a:prstGeom prst="rect">
            <a:avLst/>
          </a:prstGeom>
          <a:solidFill>
            <a:srgbClr val="FF0000">
              <a:lumMod val="60000"/>
              <a:lumOff val="4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EATION</a:t>
            </a:r>
          </a:p>
        </p:txBody>
      </p:sp>
      <p:sp>
        <p:nvSpPr>
          <p:cNvPr id="40" name="Google Shape;177;p27"/>
          <p:cNvSpPr/>
          <p:nvPr/>
        </p:nvSpPr>
        <p:spPr>
          <a:xfrm>
            <a:off x="1327165" y="1307729"/>
            <a:ext cx="2733675" cy="692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algn="ctr"/>
            <a:r>
              <a:rPr lang="en-PH" sz="1300" dirty="0" smtClean="0"/>
              <a:t>PROGRAMS INVOLVED IN THE PROCESS</a:t>
            </a:r>
          </a:p>
        </p:txBody>
      </p:sp>
      <p:sp>
        <p:nvSpPr>
          <p:cNvPr id="41" name="Google Shape;177;p27"/>
          <p:cNvSpPr/>
          <p:nvPr/>
        </p:nvSpPr>
        <p:spPr>
          <a:xfrm>
            <a:off x="5084641" y="3282517"/>
            <a:ext cx="2733675" cy="692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sz="800" dirty="0"/>
              <a:t>TYPES OF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sz="800" dirty="0"/>
              <a:t>NUMBER OF DATA POINTS</a:t>
            </a:r>
          </a:p>
        </p:txBody>
      </p:sp>
      <p:sp>
        <p:nvSpPr>
          <p:cNvPr id="2" name="Rectangle 1"/>
          <p:cNvSpPr/>
          <p:nvPr/>
        </p:nvSpPr>
        <p:spPr>
          <a:xfrm>
            <a:off x="4454820" y="2417862"/>
            <a:ext cx="23436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PH" dirty="0"/>
              <a:t> </a:t>
            </a:r>
          </a:p>
        </p:txBody>
      </p:sp>
      <p:sp>
        <p:nvSpPr>
          <p:cNvPr id="42" name="Google Shape;174;p27"/>
          <p:cNvSpPr/>
          <p:nvPr/>
        </p:nvSpPr>
        <p:spPr>
          <a:xfrm>
            <a:off x="1169738" y="695325"/>
            <a:ext cx="3362325" cy="3752850"/>
          </a:xfrm>
          <a:prstGeom prst="roundRect">
            <a:avLst>
              <a:gd name="adj" fmla="val 3204"/>
            </a:avLst>
          </a:prstGeom>
          <a:solidFill>
            <a:srgbClr val="D9D9D9">
              <a:alpha val="70980"/>
            </a:srgbClr>
          </a:solidFill>
          <a:ln>
            <a:noFill/>
          </a:ln>
          <a:effectLst>
            <a:outerShdw blurRad="241300" dist="127000" dir="4800000" algn="t" rotWithShape="0">
              <a:srgbClr val="000000">
                <a:alpha val="23921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49710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62" name="Picture 6" descr="http://www.sqlservertutorial.net/wp-content/uploads/sql-server-select-customers-table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92" y="2912811"/>
            <a:ext cx="7430504" cy="1958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6" name="Google Shape;276;p3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IN" dirty="0" smtClean="0">
                <a:solidFill>
                  <a:schemeClr val="bg1"/>
                </a:solidFill>
              </a:rPr>
              <a:t>4 Types of Input Data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280" name="Google Shape;280;p31"/>
          <p:cNvSpPr/>
          <p:nvPr/>
        </p:nvSpPr>
        <p:spPr>
          <a:xfrm>
            <a:off x="2744004" y="979470"/>
            <a:ext cx="1744808" cy="1700647"/>
          </a:xfrm>
          <a:custGeom>
            <a:avLst/>
            <a:gdLst/>
            <a:ahLst/>
            <a:cxnLst/>
            <a:rect l="l" t="t" r="r" b="b"/>
            <a:pathLst>
              <a:path w="2326411" h="2267529" extrusionOk="0">
                <a:moveTo>
                  <a:pt x="2326411" y="0"/>
                </a:moveTo>
                <a:lnTo>
                  <a:pt x="2326411" y="2267529"/>
                </a:lnTo>
                <a:lnTo>
                  <a:pt x="0" y="2267529"/>
                </a:lnTo>
                <a:lnTo>
                  <a:pt x="8895" y="2091361"/>
                </a:lnTo>
                <a:cubicBezTo>
                  <a:pt x="128191" y="916675"/>
                  <a:pt x="1120251" y="0"/>
                  <a:pt x="232641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3000">
              <a:solidFill>
                <a:schemeClr val="lt1"/>
              </a:solidFill>
            </a:endParaRPr>
          </a:p>
        </p:txBody>
      </p:sp>
      <p:sp>
        <p:nvSpPr>
          <p:cNvPr id="282" name="Google Shape;282;p31"/>
          <p:cNvSpPr/>
          <p:nvPr/>
        </p:nvSpPr>
        <p:spPr>
          <a:xfrm>
            <a:off x="3502257" y="1449807"/>
            <a:ext cx="567704" cy="1084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IN" sz="66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1</a:t>
            </a:r>
            <a:endParaRPr sz="1050"/>
          </a:p>
        </p:txBody>
      </p:sp>
      <p:sp>
        <p:nvSpPr>
          <p:cNvPr id="286" name="Google Shape;286;p31"/>
          <p:cNvSpPr/>
          <p:nvPr/>
        </p:nvSpPr>
        <p:spPr>
          <a:xfrm>
            <a:off x="482869" y="1034015"/>
            <a:ext cx="2253344" cy="3462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IN" sz="1800" b="1" dirty="0" smtClean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Standard</a:t>
            </a:r>
            <a:endParaRPr sz="1500" dirty="0">
              <a:solidFill>
                <a:schemeClr val="bg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7" name="Google Shape;287;p31"/>
          <p:cNvSpPr/>
          <p:nvPr/>
        </p:nvSpPr>
        <p:spPr>
          <a:xfrm>
            <a:off x="482869" y="1361707"/>
            <a:ext cx="2253344" cy="12234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IN" sz="1500" dirty="0" smtClean="0">
                <a:solidFill>
                  <a:schemeClr val="bg1"/>
                </a:solidFill>
                <a:latin typeface="Calibri"/>
                <a:cs typeface="Calibri"/>
                <a:sym typeface="Calibri"/>
              </a:rPr>
              <a:t>Data is located at a specific location and does not need logic to locate.</a:t>
            </a:r>
            <a:endParaRPr sz="1050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82492" y="2912811"/>
            <a:ext cx="760788" cy="195886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  <p:sp>
        <p:nvSpPr>
          <p:cNvPr id="4" name="TextBox 3"/>
          <p:cNvSpPr txBox="1"/>
          <p:nvPr/>
        </p:nvSpPr>
        <p:spPr>
          <a:xfrm>
            <a:off x="7630246" y="2838069"/>
            <a:ext cx="151375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PH" dirty="0" smtClean="0">
                <a:solidFill>
                  <a:schemeClr val="bg1"/>
                </a:solidFill>
              </a:rPr>
              <a:t>Getting data from the first column will always result in getting the customer ID</a:t>
            </a:r>
            <a:endParaRPr lang="en-PH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3906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332" y="2585119"/>
            <a:ext cx="3739181" cy="2400299"/>
          </a:xfrm>
          <a:prstGeom prst="rect">
            <a:avLst/>
          </a:prstGeom>
        </p:spPr>
      </p:pic>
      <p:sp>
        <p:nvSpPr>
          <p:cNvPr id="276" name="Google Shape;276;p3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IN" dirty="0" smtClean="0">
                <a:solidFill>
                  <a:schemeClr val="bg1"/>
                </a:solidFill>
              </a:rPr>
              <a:t>4 Types of Input Data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281" name="Google Shape;281;p31"/>
          <p:cNvSpPr/>
          <p:nvPr/>
        </p:nvSpPr>
        <p:spPr>
          <a:xfrm>
            <a:off x="4575896" y="979470"/>
            <a:ext cx="1744809" cy="1700647"/>
          </a:xfrm>
          <a:custGeom>
            <a:avLst/>
            <a:gdLst/>
            <a:ahLst/>
            <a:cxnLst/>
            <a:rect l="l" t="t" r="r" b="b"/>
            <a:pathLst>
              <a:path w="2326412" h="2267529" extrusionOk="0">
                <a:moveTo>
                  <a:pt x="0" y="0"/>
                </a:moveTo>
                <a:cubicBezTo>
                  <a:pt x="1206161" y="0"/>
                  <a:pt x="2198220" y="916675"/>
                  <a:pt x="2317516" y="2091361"/>
                </a:cubicBezTo>
                <a:lnTo>
                  <a:pt x="2326412" y="2267529"/>
                </a:lnTo>
                <a:lnTo>
                  <a:pt x="0" y="226752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3000">
              <a:solidFill>
                <a:schemeClr val="lt1"/>
              </a:solidFill>
            </a:endParaRPr>
          </a:p>
        </p:txBody>
      </p:sp>
      <p:sp>
        <p:nvSpPr>
          <p:cNvPr id="283" name="Google Shape;283;p31"/>
          <p:cNvSpPr/>
          <p:nvPr/>
        </p:nvSpPr>
        <p:spPr>
          <a:xfrm>
            <a:off x="5002286" y="1449807"/>
            <a:ext cx="567704" cy="1084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IN" sz="66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2</a:t>
            </a:r>
            <a:endParaRPr sz="66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0" name="Google Shape;290;p31"/>
          <p:cNvSpPr/>
          <p:nvPr/>
        </p:nvSpPr>
        <p:spPr>
          <a:xfrm>
            <a:off x="6407788" y="1034015"/>
            <a:ext cx="2253344" cy="3462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IN" sz="1800" b="1" dirty="0" smtClean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Structured Free Text</a:t>
            </a:r>
            <a:endParaRPr sz="1500" dirty="0">
              <a:solidFill>
                <a:schemeClr val="bg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1" name="Google Shape;291;p31"/>
          <p:cNvSpPr/>
          <p:nvPr/>
        </p:nvSpPr>
        <p:spPr>
          <a:xfrm>
            <a:off x="6407788" y="1361707"/>
            <a:ext cx="2253344" cy="12234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US" sz="1500" dirty="0">
                <a:solidFill>
                  <a:schemeClr val="bg1"/>
                </a:solidFill>
                <a:latin typeface="Calibri"/>
                <a:cs typeface="Calibri"/>
                <a:sym typeface="Calibri"/>
              </a:rPr>
              <a:t>Data is located at a specific location </a:t>
            </a:r>
            <a:r>
              <a:rPr lang="en-US" sz="1500" dirty="0" smtClean="0">
                <a:solidFill>
                  <a:schemeClr val="bg1"/>
                </a:solidFill>
                <a:latin typeface="Calibri"/>
                <a:cs typeface="Calibri"/>
                <a:sym typeface="Calibri"/>
              </a:rPr>
              <a:t>but needs simple logic to locate.</a:t>
            </a:r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350520" y="3667760"/>
            <a:ext cx="1529080" cy="14224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  <p:sp>
        <p:nvSpPr>
          <p:cNvPr id="25" name="TextBox 24"/>
          <p:cNvSpPr txBox="1"/>
          <p:nvPr/>
        </p:nvSpPr>
        <p:spPr>
          <a:xfrm>
            <a:off x="4490806" y="2914269"/>
            <a:ext cx="2097954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PH" dirty="0" smtClean="0">
                <a:solidFill>
                  <a:schemeClr val="bg1"/>
                </a:solidFill>
              </a:rPr>
              <a:t>Getting the customer name from the email will need logic to look for the text after the “Order for: “</a:t>
            </a:r>
            <a:endParaRPr lang="en-PH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5744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" name="Google Shape;276;p3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IN" dirty="0" smtClean="0">
                <a:solidFill>
                  <a:schemeClr val="bg1"/>
                </a:solidFill>
              </a:rPr>
              <a:t>4 Types of Input Data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278" name="Google Shape;278;p31"/>
          <p:cNvSpPr/>
          <p:nvPr/>
        </p:nvSpPr>
        <p:spPr>
          <a:xfrm>
            <a:off x="2741655" y="2799858"/>
            <a:ext cx="1747157" cy="1793668"/>
          </a:xfrm>
          <a:custGeom>
            <a:avLst/>
            <a:gdLst/>
            <a:ahLst/>
            <a:cxnLst/>
            <a:rect l="l" t="t" r="r" b="b"/>
            <a:pathLst>
              <a:path w="2329543" h="2391557" extrusionOk="0">
                <a:moveTo>
                  <a:pt x="3132" y="0"/>
                </a:moveTo>
                <a:lnTo>
                  <a:pt x="2329543" y="0"/>
                </a:lnTo>
                <a:lnTo>
                  <a:pt x="2329543" y="2391557"/>
                </a:lnTo>
                <a:cubicBezTo>
                  <a:pt x="1042972" y="2391557"/>
                  <a:pt x="0" y="1348585"/>
                  <a:pt x="0" y="62014"/>
                </a:cubicBezTo>
                <a:lnTo>
                  <a:pt x="3132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6600">
              <a:solidFill>
                <a:schemeClr val="lt1"/>
              </a:solidFill>
            </a:endParaRPr>
          </a:p>
        </p:txBody>
      </p:sp>
      <p:sp>
        <p:nvSpPr>
          <p:cNvPr id="284" name="Google Shape;284;p31"/>
          <p:cNvSpPr/>
          <p:nvPr/>
        </p:nvSpPr>
        <p:spPr>
          <a:xfrm>
            <a:off x="3502257" y="3065046"/>
            <a:ext cx="567704" cy="1084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IN" sz="66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3</a:t>
            </a:r>
            <a:endParaRPr sz="1050"/>
          </a:p>
        </p:txBody>
      </p:sp>
      <p:sp>
        <p:nvSpPr>
          <p:cNvPr id="288" name="Google Shape;288;p31"/>
          <p:cNvSpPr/>
          <p:nvPr/>
        </p:nvSpPr>
        <p:spPr>
          <a:xfrm>
            <a:off x="291993" y="2813843"/>
            <a:ext cx="2444220" cy="3462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IN" sz="1800" b="1" dirty="0" smtClean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Unstructured Free Text</a:t>
            </a:r>
            <a:endParaRPr sz="1500" dirty="0">
              <a:solidFill>
                <a:schemeClr val="bg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9" name="Google Shape;289;p31"/>
          <p:cNvSpPr/>
          <p:nvPr/>
        </p:nvSpPr>
        <p:spPr>
          <a:xfrm>
            <a:off x="482869" y="3141535"/>
            <a:ext cx="2253344" cy="12234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US" sz="1500" dirty="0">
                <a:solidFill>
                  <a:schemeClr val="bg1"/>
                </a:solidFill>
                <a:latin typeface="Calibri"/>
                <a:cs typeface="Calibri"/>
                <a:sym typeface="Calibri"/>
              </a:rPr>
              <a:t>Data is </a:t>
            </a:r>
            <a:r>
              <a:rPr lang="en-US" sz="1500" dirty="0" smtClean="0">
                <a:solidFill>
                  <a:schemeClr val="bg1"/>
                </a:solidFill>
                <a:latin typeface="Calibri"/>
                <a:cs typeface="Calibri"/>
                <a:sym typeface="Calibri"/>
              </a:rPr>
              <a:t>not located </a:t>
            </a:r>
            <a:r>
              <a:rPr lang="en-US" sz="1500" dirty="0">
                <a:solidFill>
                  <a:schemeClr val="bg1"/>
                </a:solidFill>
                <a:latin typeface="Calibri"/>
                <a:cs typeface="Calibri"/>
                <a:sym typeface="Calibri"/>
              </a:rPr>
              <a:t>at a specific </a:t>
            </a:r>
            <a:r>
              <a:rPr lang="en-US" sz="1500" dirty="0" smtClean="0">
                <a:solidFill>
                  <a:schemeClr val="bg1"/>
                </a:solidFill>
                <a:latin typeface="Calibri"/>
                <a:cs typeface="Calibri"/>
                <a:sym typeface="Calibri"/>
              </a:rPr>
              <a:t>location and will need complex logic to locate.</a:t>
            </a:r>
            <a:endParaRPr lang="en-US" sz="1050" dirty="0">
              <a:solidFill>
                <a:schemeClr val="bg1"/>
              </a:solidFill>
            </a:endParaRPr>
          </a:p>
        </p:txBody>
      </p:sp>
      <p:pic>
        <p:nvPicPr>
          <p:cNvPr id="9" name="Picture 2" descr="https://dox4euoyzny9u.cloudfront.net/images/blog/uploads/Recruitsurvey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69" t="11682" r="8306" b="16563"/>
          <a:stretch/>
        </p:blipFill>
        <p:spPr bwMode="auto">
          <a:xfrm>
            <a:off x="5395644" y="611318"/>
            <a:ext cx="2314671" cy="3943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95357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" name="Google Shape;276;p3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IN" dirty="0" smtClean="0">
                <a:solidFill>
                  <a:schemeClr val="bg1"/>
                </a:solidFill>
              </a:rPr>
              <a:t>4 Types of Input Data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279" name="Google Shape;279;p31"/>
          <p:cNvSpPr/>
          <p:nvPr/>
        </p:nvSpPr>
        <p:spPr>
          <a:xfrm>
            <a:off x="4575896" y="2799858"/>
            <a:ext cx="1747157" cy="1793668"/>
          </a:xfrm>
          <a:custGeom>
            <a:avLst/>
            <a:gdLst/>
            <a:ahLst/>
            <a:cxnLst/>
            <a:rect l="l" t="t" r="r" b="b"/>
            <a:pathLst>
              <a:path w="2329543" h="2391557" extrusionOk="0">
                <a:moveTo>
                  <a:pt x="0" y="0"/>
                </a:moveTo>
                <a:lnTo>
                  <a:pt x="2326412" y="0"/>
                </a:lnTo>
                <a:lnTo>
                  <a:pt x="2329543" y="62014"/>
                </a:lnTo>
                <a:cubicBezTo>
                  <a:pt x="2329543" y="1348585"/>
                  <a:pt x="1286571" y="2391557"/>
                  <a:pt x="0" y="2391557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3000">
              <a:solidFill>
                <a:schemeClr val="lt1"/>
              </a:solidFill>
            </a:endParaRPr>
          </a:p>
        </p:txBody>
      </p:sp>
      <p:sp>
        <p:nvSpPr>
          <p:cNvPr id="285" name="Google Shape;285;p31"/>
          <p:cNvSpPr/>
          <p:nvPr/>
        </p:nvSpPr>
        <p:spPr>
          <a:xfrm>
            <a:off x="5002286" y="3065046"/>
            <a:ext cx="567704" cy="1084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IN" sz="66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4</a:t>
            </a:r>
            <a:endParaRPr sz="66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2" name="Google Shape;292;p31"/>
          <p:cNvSpPr/>
          <p:nvPr/>
        </p:nvSpPr>
        <p:spPr>
          <a:xfrm>
            <a:off x="6407788" y="2813843"/>
            <a:ext cx="2253344" cy="3462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IN" sz="1800" b="1" dirty="0" smtClean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Pictures</a:t>
            </a:r>
            <a:endParaRPr sz="1500" dirty="0">
              <a:solidFill>
                <a:schemeClr val="bg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3" name="Google Shape;293;p31"/>
          <p:cNvSpPr/>
          <p:nvPr/>
        </p:nvSpPr>
        <p:spPr>
          <a:xfrm>
            <a:off x="6407788" y="3141535"/>
            <a:ext cx="2253344" cy="12234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IN" sz="1500" dirty="0" smtClean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Data is in an image format and will need an image recognition software to read. The imported data will be considered as free text.</a:t>
            </a:r>
            <a:endParaRPr sz="1050" dirty="0">
              <a:solidFill>
                <a:schemeClr val="bg1"/>
              </a:solidFill>
            </a:endParaRPr>
          </a:p>
        </p:txBody>
      </p:sp>
      <p:pic>
        <p:nvPicPr>
          <p:cNvPr id="17" name="Picture 4" descr="Image result for 231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452" y="712907"/>
            <a:ext cx="2589519" cy="42652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/>
          <p:cNvSpPr txBox="1"/>
          <p:nvPr/>
        </p:nvSpPr>
        <p:spPr>
          <a:xfrm>
            <a:off x="4075868" y="706875"/>
            <a:ext cx="209795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PH" dirty="0" smtClean="0">
                <a:solidFill>
                  <a:schemeClr val="bg1"/>
                </a:solidFill>
              </a:rPr>
              <a:t>This will need an image recognition software in order to import the data from this picture.</a:t>
            </a:r>
            <a:endParaRPr lang="en-PH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30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" name="Google Shape;276;p3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IN" dirty="0" smtClean="0">
                <a:solidFill>
                  <a:schemeClr val="bg1"/>
                </a:solidFill>
              </a:rPr>
              <a:t>4 Types of Input Data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278" name="Google Shape;278;p31"/>
          <p:cNvSpPr/>
          <p:nvPr/>
        </p:nvSpPr>
        <p:spPr>
          <a:xfrm>
            <a:off x="2741655" y="2799858"/>
            <a:ext cx="1747157" cy="1793668"/>
          </a:xfrm>
          <a:custGeom>
            <a:avLst/>
            <a:gdLst/>
            <a:ahLst/>
            <a:cxnLst/>
            <a:rect l="l" t="t" r="r" b="b"/>
            <a:pathLst>
              <a:path w="2329543" h="2391557" extrusionOk="0">
                <a:moveTo>
                  <a:pt x="3132" y="0"/>
                </a:moveTo>
                <a:lnTo>
                  <a:pt x="2329543" y="0"/>
                </a:lnTo>
                <a:lnTo>
                  <a:pt x="2329543" y="2391557"/>
                </a:lnTo>
                <a:cubicBezTo>
                  <a:pt x="1042972" y="2391557"/>
                  <a:pt x="0" y="1348585"/>
                  <a:pt x="0" y="62014"/>
                </a:cubicBezTo>
                <a:lnTo>
                  <a:pt x="3132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6600">
              <a:solidFill>
                <a:schemeClr val="bg1"/>
              </a:solidFill>
            </a:endParaRPr>
          </a:p>
        </p:txBody>
      </p:sp>
      <p:sp>
        <p:nvSpPr>
          <p:cNvPr id="279" name="Google Shape;279;p31"/>
          <p:cNvSpPr/>
          <p:nvPr/>
        </p:nvSpPr>
        <p:spPr>
          <a:xfrm>
            <a:off x="4575896" y="2799858"/>
            <a:ext cx="1747157" cy="1793668"/>
          </a:xfrm>
          <a:custGeom>
            <a:avLst/>
            <a:gdLst/>
            <a:ahLst/>
            <a:cxnLst/>
            <a:rect l="l" t="t" r="r" b="b"/>
            <a:pathLst>
              <a:path w="2329543" h="2391557" extrusionOk="0">
                <a:moveTo>
                  <a:pt x="0" y="0"/>
                </a:moveTo>
                <a:lnTo>
                  <a:pt x="2326412" y="0"/>
                </a:lnTo>
                <a:lnTo>
                  <a:pt x="2329543" y="62014"/>
                </a:lnTo>
                <a:cubicBezTo>
                  <a:pt x="2329543" y="1348585"/>
                  <a:pt x="1286571" y="2391557"/>
                  <a:pt x="0" y="2391557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3000">
              <a:solidFill>
                <a:schemeClr val="bg1"/>
              </a:solidFill>
            </a:endParaRPr>
          </a:p>
        </p:txBody>
      </p:sp>
      <p:sp>
        <p:nvSpPr>
          <p:cNvPr id="280" name="Google Shape;280;p31"/>
          <p:cNvSpPr/>
          <p:nvPr/>
        </p:nvSpPr>
        <p:spPr>
          <a:xfrm>
            <a:off x="2744004" y="979470"/>
            <a:ext cx="1744808" cy="1700647"/>
          </a:xfrm>
          <a:custGeom>
            <a:avLst/>
            <a:gdLst/>
            <a:ahLst/>
            <a:cxnLst/>
            <a:rect l="l" t="t" r="r" b="b"/>
            <a:pathLst>
              <a:path w="2326411" h="2267529" extrusionOk="0">
                <a:moveTo>
                  <a:pt x="2326411" y="0"/>
                </a:moveTo>
                <a:lnTo>
                  <a:pt x="2326411" y="2267529"/>
                </a:lnTo>
                <a:lnTo>
                  <a:pt x="0" y="2267529"/>
                </a:lnTo>
                <a:lnTo>
                  <a:pt x="8895" y="2091361"/>
                </a:lnTo>
                <a:cubicBezTo>
                  <a:pt x="128191" y="916675"/>
                  <a:pt x="1120251" y="0"/>
                  <a:pt x="232641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3000">
              <a:solidFill>
                <a:schemeClr val="bg1"/>
              </a:solidFill>
            </a:endParaRPr>
          </a:p>
        </p:txBody>
      </p:sp>
      <p:sp>
        <p:nvSpPr>
          <p:cNvPr id="281" name="Google Shape;281;p31"/>
          <p:cNvSpPr/>
          <p:nvPr/>
        </p:nvSpPr>
        <p:spPr>
          <a:xfrm>
            <a:off x="4575896" y="979470"/>
            <a:ext cx="1744809" cy="1700647"/>
          </a:xfrm>
          <a:custGeom>
            <a:avLst/>
            <a:gdLst/>
            <a:ahLst/>
            <a:cxnLst/>
            <a:rect l="l" t="t" r="r" b="b"/>
            <a:pathLst>
              <a:path w="2326412" h="2267529" extrusionOk="0">
                <a:moveTo>
                  <a:pt x="0" y="0"/>
                </a:moveTo>
                <a:cubicBezTo>
                  <a:pt x="1206161" y="0"/>
                  <a:pt x="2198220" y="916675"/>
                  <a:pt x="2317516" y="2091361"/>
                </a:cubicBezTo>
                <a:lnTo>
                  <a:pt x="2326412" y="2267529"/>
                </a:lnTo>
                <a:lnTo>
                  <a:pt x="0" y="226752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3000">
              <a:solidFill>
                <a:schemeClr val="bg1"/>
              </a:solidFill>
            </a:endParaRPr>
          </a:p>
        </p:txBody>
      </p:sp>
      <p:sp>
        <p:nvSpPr>
          <p:cNvPr id="282" name="Google Shape;282;p31"/>
          <p:cNvSpPr/>
          <p:nvPr/>
        </p:nvSpPr>
        <p:spPr>
          <a:xfrm>
            <a:off x="3502257" y="1449807"/>
            <a:ext cx="567704" cy="1084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IN" sz="660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1</a:t>
            </a:r>
            <a:endParaRPr sz="1050">
              <a:solidFill>
                <a:schemeClr val="bg1"/>
              </a:solidFill>
            </a:endParaRPr>
          </a:p>
        </p:txBody>
      </p:sp>
      <p:sp>
        <p:nvSpPr>
          <p:cNvPr id="283" name="Google Shape;283;p31"/>
          <p:cNvSpPr/>
          <p:nvPr/>
        </p:nvSpPr>
        <p:spPr>
          <a:xfrm>
            <a:off x="5002286" y="1449807"/>
            <a:ext cx="567704" cy="1084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IN" sz="660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2</a:t>
            </a:r>
            <a:endParaRPr sz="6600">
              <a:solidFill>
                <a:schemeClr val="bg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4" name="Google Shape;284;p31"/>
          <p:cNvSpPr/>
          <p:nvPr/>
        </p:nvSpPr>
        <p:spPr>
          <a:xfrm>
            <a:off x="3502257" y="3065046"/>
            <a:ext cx="567704" cy="1084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IN" sz="660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3</a:t>
            </a:r>
            <a:endParaRPr sz="1050">
              <a:solidFill>
                <a:schemeClr val="bg1"/>
              </a:solidFill>
            </a:endParaRPr>
          </a:p>
        </p:txBody>
      </p:sp>
      <p:sp>
        <p:nvSpPr>
          <p:cNvPr id="285" name="Google Shape;285;p31"/>
          <p:cNvSpPr/>
          <p:nvPr/>
        </p:nvSpPr>
        <p:spPr>
          <a:xfrm>
            <a:off x="5002286" y="3065046"/>
            <a:ext cx="567704" cy="1084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IN" sz="660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4</a:t>
            </a:r>
            <a:endParaRPr sz="6600">
              <a:solidFill>
                <a:schemeClr val="bg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2" name="Google Shape;292;p31"/>
          <p:cNvSpPr/>
          <p:nvPr/>
        </p:nvSpPr>
        <p:spPr>
          <a:xfrm>
            <a:off x="6407788" y="2813843"/>
            <a:ext cx="2253344" cy="3462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IN" sz="1800" b="1" dirty="0" smtClean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Pictures</a:t>
            </a:r>
            <a:endParaRPr sz="1500" dirty="0">
              <a:solidFill>
                <a:schemeClr val="bg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3" name="Google Shape;293;p31"/>
          <p:cNvSpPr/>
          <p:nvPr/>
        </p:nvSpPr>
        <p:spPr>
          <a:xfrm>
            <a:off x="6407788" y="3141535"/>
            <a:ext cx="2253344" cy="12234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IN" sz="1500" dirty="0" smtClean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Data is in an image format and will need an image recognition software to read.</a:t>
            </a:r>
            <a:endParaRPr sz="1050" dirty="0">
              <a:solidFill>
                <a:schemeClr val="bg1"/>
              </a:solidFill>
            </a:endParaRPr>
          </a:p>
        </p:txBody>
      </p:sp>
      <p:sp>
        <p:nvSpPr>
          <p:cNvPr id="13" name="Google Shape;288;p31"/>
          <p:cNvSpPr/>
          <p:nvPr/>
        </p:nvSpPr>
        <p:spPr>
          <a:xfrm>
            <a:off x="291993" y="2813843"/>
            <a:ext cx="2444220" cy="3462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IN" sz="1800" b="1" dirty="0" smtClean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Unstructured Free Text</a:t>
            </a:r>
            <a:endParaRPr sz="1500" dirty="0">
              <a:solidFill>
                <a:schemeClr val="bg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" name="Google Shape;289;p31"/>
          <p:cNvSpPr/>
          <p:nvPr/>
        </p:nvSpPr>
        <p:spPr>
          <a:xfrm>
            <a:off x="482869" y="3141535"/>
            <a:ext cx="2253344" cy="12234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US" sz="1500" dirty="0">
                <a:solidFill>
                  <a:schemeClr val="bg1"/>
                </a:solidFill>
                <a:latin typeface="Calibri"/>
                <a:cs typeface="Calibri"/>
                <a:sym typeface="Calibri"/>
              </a:rPr>
              <a:t>Data is </a:t>
            </a:r>
            <a:r>
              <a:rPr lang="en-US" sz="1500" dirty="0" smtClean="0">
                <a:solidFill>
                  <a:schemeClr val="bg1"/>
                </a:solidFill>
                <a:latin typeface="Calibri"/>
                <a:cs typeface="Calibri"/>
                <a:sym typeface="Calibri"/>
              </a:rPr>
              <a:t>not located </a:t>
            </a:r>
            <a:r>
              <a:rPr lang="en-US" sz="1500" dirty="0">
                <a:solidFill>
                  <a:schemeClr val="bg1"/>
                </a:solidFill>
                <a:latin typeface="Calibri"/>
                <a:cs typeface="Calibri"/>
                <a:sym typeface="Calibri"/>
              </a:rPr>
              <a:t>at a specific </a:t>
            </a:r>
            <a:r>
              <a:rPr lang="en-US" sz="1500" dirty="0" smtClean="0">
                <a:solidFill>
                  <a:schemeClr val="bg1"/>
                </a:solidFill>
                <a:latin typeface="Calibri"/>
                <a:cs typeface="Calibri"/>
                <a:sym typeface="Calibri"/>
              </a:rPr>
              <a:t>location and will need complex logic to locate.</a:t>
            </a:r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15" name="Google Shape;290;p31"/>
          <p:cNvSpPr/>
          <p:nvPr/>
        </p:nvSpPr>
        <p:spPr>
          <a:xfrm>
            <a:off x="6407788" y="1034015"/>
            <a:ext cx="2253344" cy="3462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IN" sz="1800" b="1" dirty="0" smtClean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Structured Free Text</a:t>
            </a:r>
            <a:endParaRPr sz="1500" dirty="0">
              <a:solidFill>
                <a:schemeClr val="bg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Google Shape;291;p31"/>
          <p:cNvSpPr/>
          <p:nvPr/>
        </p:nvSpPr>
        <p:spPr>
          <a:xfrm>
            <a:off x="6407788" y="1361707"/>
            <a:ext cx="2253344" cy="12234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US" sz="1500" dirty="0">
                <a:solidFill>
                  <a:schemeClr val="bg1"/>
                </a:solidFill>
                <a:latin typeface="Calibri"/>
                <a:cs typeface="Calibri"/>
                <a:sym typeface="Calibri"/>
              </a:rPr>
              <a:t>Data is located at a specific location </a:t>
            </a:r>
            <a:r>
              <a:rPr lang="en-US" sz="1500" dirty="0" smtClean="0">
                <a:solidFill>
                  <a:schemeClr val="bg1"/>
                </a:solidFill>
                <a:latin typeface="Calibri"/>
                <a:cs typeface="Calibri"/>
                <a:sym typeface="Calibri"/>
              </a:rPr>
              <a:t>but needs simple logic to locate.</a:t>
            </a:r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17" name="Google Shape;286;p31"/>
          <p:cNvSpPr/>
          <p:nvPr/>
        </p:nvSpPr>
        <p:spPr>
          <a:xfrm>
            <a:off x="482869" y="1034015"/>
            <a:ext cx="2253344" cy="3462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IN" sz="1800" b="1" dirty="0" smtClean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Standard</a:t>
            </a:r>
            <a:endParaRPr sz="1500" dirty="0">
              <a:solidFill>
                <a:schemeClr val="bg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" name="Google Shape;287;p31"/>
          <p:cNvSpPr/>
          <p:nvPr/>
        </p:nvSpPr>
        <p:spPr>
          <a:xfrm>
            <a:off x="482869" y="1361707"/>
            <a:ext cx="2253344" cy="12234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IN" sz="1500" dirty="0" smtClean="0">
                <a:solidFill>
                  <a:schemeClr val="bg1"/>
                </a:solidFill>
                <a:latin typeface="Calibri"/>
                <a:cs typeface="Calibri"/>
                <a:sym typeface="Calibri"/>
              </a:rPr>
              <a:t>Data is located at a specific location and does not need logic to locate.</a:t>
            </a:r>
            <a:endParaRPr sz="105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4241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" name="Google Shape;276;p3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IN" dirty="0" smtClean="0">
                <a:solidFill>
                  <a:schemeClr val="bg1"/>
                </a:solidFill>
              </a:rPr>
              <a:t>Counting Input Data</a:t>
            </a:r>
            <a:endParaRPr dirty="0">
              <a:solidFill>
                <a:schemeClr val="bg1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862" y="2095417"/>
            <a:ext cx="6198934" cy="2072019"/>
          </a:xfrm>
          <a:prstGeom prst="rect">
            <a:avLst/>
          </a:prstGeom>
        </p:spPr>
      </p:pic>
      <p:sp>
        <p:nvSpPr>
          <p:cNvPr id="20" name="Google Shape;291;p31"/>
          <p:cNvSpPr/>
          <p:nvPr/>
        </p:nvSpPr>
        <p:spPr>
          <a:xfrm>
            <a:off x="6890656" y="1430864"/>
            <a:ext cx="2253344" cy="12234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US" sz="1500" dirty="0" smtClean="0">
                <a:solidFill>
                  <a:schemeClr val="bg1"/>
                </a:solidFill>
                <a:latin typeface="Calibri"/>
                <a:cs typeface="Calibri"/>
                <a:sym typeface="Calibri"/>
              </a:rPr>
              <a:t>Input data is data from a source that needs processing to generate an output.</a:t>
            </a:r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475334" y="2504991"/>
            <a:ext cx="753036" cy="20746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  <p:sp>
        <p:nvSpPr>
          <p:cNvPr id="22" name="Rectangle 21"/>
          <p:cNvSpPr/>
          <p:nvPr/>
        </p:nvSpPr>
        <p:spPr>
          <a:xfrm>
            <a:off x="3010854" y="2303927"/>
            <a:ext cx="2890484" cy="51611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  <p:cxnSp>
        <p:nvCxnSpPr>
          <p:cNvPr id="5" name="Straight Arrow Connector 4"/>
          <p:cNvCxnSpPr>
            <a:stCxn id="3" idx="0"/>
          </p:cNvCxnSpPr>
          <p:nvPr/>
        </p:nvCxnSpPr>
        <p:spPr>
          <a:xfrm flipH="1" flipV="1">
            <a:off x="1836484" y="1559859"/>
            <a:ext cx="15368" cy="945132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>
          <a:xfrm>
            <a:off x="1045029" y="1129553"/>
            <a:ext cx="1352389" cy="4303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H" dirty="0" smtClean="0"/>
              <a:t>Source</a:t>
            </a:r>
            <a:endParaRPr lang="en-PH" dirty="0"/>
          </a:p>
        </p:txBody>
      </p:sp>
      <p:cxnSp>
        <p:nvCxnSpPr>
          <p:cNvPr id="26" name="Straight Arrow Connector 25"/>
          <p:cNvCxnSpPr>
            <a:stCxn id="22" idx="0"/>
            <a:endCxn id="27" idx="2"/>
          </p:cNvCxnSpPr>
          <p:nvPr/>
        </p:nvCxnSpPr>
        <p:spPr>
          <a:xfrm flipH="1" flipV="1">
            <a:off x="4441368" y="1558459"/>
            <a:ext cx="14728" cy="745468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/>
          <p:cNvSpPr/>
          <p:nvPr/>
        </p:nvSpPr>
        <p:spPr>
          <a:xfrm>
            <a:off x="3765173" y="1128153"/>
            <a:ext cx="1352389" cy="4303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H" dirty="0" smtClean="0"/>
              <a:t>Processing</a:t>
            </a:r>
            <a:endParaRPr lang="en-PH" dirty="0"/>
          </a:p>
        </p:txBody>
      </p:sp>
      <p:sp>
        <p:nvSpPr>
          <p:cNvPr id="10" name="Rectangle 9"/>
          <p:cNvSpPr/>
          <p:nvPr/>
        </p:nvSpPr>
        <p:spPr>
          <a:xfrm>
            <a:off x="2674045" y="4533580"/>
            <a:ext cx="1352389" cy="37651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H" dirty="0" smtClean="0"/>
              <a:t>Input Data</a:t>
            </a:r>
            <a:endParaRPr lang="en-PH" dirty="0"/>
          </a:p>
        </p:txBody>
      </p:sp>
      <p:sp>
        <p:nvSpPr>
          <p:cNvPr id="32" name="Rectangle 31"/>
          <p:cNvSpPr/>
          <p:nvPr/>
        </p:nvSpPr>
        <p:spPr>
          <a:xfrm>
            <a:off x="2840293" y="3042558"/>
            <a:ext cx="986356" cy="53051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  <p:cxnSp>
        <p:nvCxnSpPr>
          <p:cNvPr id="35" name="Straight Arrow Connector 34"/>
          <p:cNvCxnSpPr>
            <a:stCxn id="32" idx="2"/>
            <a:endCxn id="10" idx="0"/>
          </p:cNvCxnSpPr>
          <p:nvPr/>
        </p:nvCxnSpPr>
        <p:spPr>
          <a:xfrm>
            <a:off x="3333471" y="3573076"/>
            <a:ext cx="16769" cy="960504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2206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Freeform: Shape 85">
            <a:extLst>
              <a:ext uri="{FF2B5EF4-FFF2-40B4-BE49-F238E27FC236}">
                <a16:creationId xmlns="" xmlns:a16="http://schemas.microsoft.com/office/drawing/2014/main" id="{DE84B39C-29BB-4D33-905C-2D797E13C0F5}"/>
              </a:ext>
            </a:extLst>
          </p:cNvPr>
          <p:cNvSpPr/>
          <p:nvPr/>
        </p:nvSpPr>
        <p:spPr>
          <a:xfrm rot="20788111">
            <a:off x="-138337" y="3194730"/>
            <a:ext cx="4895471" cy="601694"/>
          </a:xfrm>
          <a:custGeom>
            <a:avLst/>
            <a:gdLst>
              <a:gd name="connsiteX0" fmla="*/ 6527294 w 6527294"/>
              <a:gd name="connsiteY0" fmla="*/ 0 h 802259"/>
              <a:gd name="connsiteX1" fmla="*/ 6527294 w 6527294"/>
              <a:gd name="connsiteY1" fmla="*/ 802259 h 802259"/>
              <a:gd name="connsiteX2" fmla="*/ 0 w 6527294"/>
              <a:gd name="connsiteY2" fmla="*/ 802259 h 802259"/>
              <a:gd name="connsiteX3" fmla="*/ 193071 w 6527294"/>
              <a:gd name="connsiteY3" fmla="*/ 0 h 802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27294" h="802259">
                <a:moveTo>
                  <a:pt x="6527294" y="0"/>
                </a:moveTo>
                <a:lnTo>
                  <a:pt x="6527294" y="802259"/>
                </a:lnTo>
                <a:lnTo>
                  <a:pt x="0" y="802259"/>
                </a:lnTo>
                <a:lnTo>
                  <a:pt x="193071" y="0"/>
                </a:lnTo>
                <a:close/>
              </a:path>
            </a:pathLst>
          </a:custGeom>
          <a:gradFill flip="none" rotWithShape="1">
            <a:gsLst>
              <a:gs pos="0">
                <a:srgbClr val="F7931F"/>
              </a:gs>
              <a:gs pos="61000">
                <a:srgbClr val="F7931F"/>
              </a:gs>
              <a:gs pos="97000">
                <a:srgbClr val="F7931F">
                  <a:lumMod val="50000"/>
                </a:srgbClr>
              </a:gs>
            </a:gsLst>
            <a:lin ang="180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8" name="Freeform: Shape 87">
            <a:extLst>
              <a:ext uri="{FF2B5EF4-FFF2-40B4-BE49-F238E27FC236}">
                <a16:creationId xmlns="" xmlns:a16="http://schemas.microsoft.com/office/drawing/2014/main" id="{C10C599E-DC08-4712-BEBD-87FEC6DCA2E4}"/>
              </a:ext>
            </a:extLst>
          </p:cNvPr>
          <p:cNvSpPr/>
          <p:nvPr/>
        </p:nvSpPr>
        <p:spPr>
          <a:xfrm rot="20788111">
            <a:off x="-120775" y="2641722"/>
            <a:ext cx="3630140" cy="601694"/>
          </a:xfrm>
          <a:custGeom>
            <a:avLst/>
            <a:gdLst>
              <a:gd name="connsiteX0" fmla="*/ 4840187 w 4840187"/>
              <a:gd name="connsiteY0" fmla="*/ 0 h 802259"/>
              <a:gd name="connsiteX1" fmla="*/ 4840187 w 4840187"/>
              <a:gd name="connsiteY1" fmla="*/ 802259 h 802259"/>
              <a:gd name="connsiteX2" fmla="*/ 0 w 4840187"/>
              <a:gd name="connsiteY2" fmla="*/ 802259 h 802259"/>
              <a:gd name="connsiteX3" fmla="*/ 193072 w 4840187"/>
              <a:gd name="connsiteY3" fmla="*/ 0 h 802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40187" h="802259">
                <a:moveTo>
                  <a:pt x="4840187" y="0"/>
                </a:moveTo>
                <a:lnTo>
                  <a:pt x="4840187" y="802259"/>
                </a:lnTo>
                <a:lnTo>
                  <a:pt x="0" y="802259"/>
                </a:lnTo>
                <a:lnTo>
                  <a:pt x="193072" y="0"/>
                </a:lnTo>
                <a:close/>
              </a:path>
            </a:pathLst>
          </a:custGeom>
          <a:gradFill flip="none" rotWithShape="1">
            <a:gsLst>
              <a:gs pos="0">
                <a:srgbClr val="063951"/>
              </a:gs>
              <a:gs pos="61000">
                <a:srgbClr val="063951"/>
              </a:gs>
              <a:gs pos="97000">
                <a:sysClr val="windowText" lastClr="000000"/>
              </a:gs>
            </a:gsLst>
            <a:lin ang="180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9" name="Freeform: Shape 83">
            <a:extLst>
              <a:ext uri="{FF2B5EF4-FFF2-40B4-BE49-F238E27FC236}">
                <a16:creationId xmlns="" xmlns:a16="http://schemas.microsoft.com/office/drawing/2014/main" id="{0ABF17AA-5EE5-4BBA-9237-15EE77F5F388}"/>
              </a:ext>
            </a:extLst>
          </p:cNvPr>
          <p:cNvSpPr/>
          <p:nvPr/>
        </p:nvSpPr>
        <p:spPr>
          <a:xfrm rot="20788111">
            <a:off x="-155900" y="3750151"/>
            <a:ext cx="6160800" cy="601694"/>
          </a:xfrm>
          <a:custGeom>
            <a:avLst/>
            <a:gdLst>
              <a:gd name="connsiteX0" fmla="*/ 8214400 w 8214400"/>
              <a:gd name="connsiteY0" fmla="*/ 0 h 802259"/>
              <a:gd name="connsiteX1" fmla="*/ 8214400 w 8214400"/>
              <a:gd name="connsiteY1" fmla="*/ 802259 h 802259"/>
              <a:gd name="connsiteX2" fmla="*/ 0 w 8214400"/>
              <a:gd name="connsiteY2" fmla="*/ 802259 h 802259"/>
              <a:gd name="connsiteX3" fmla="*/ 193072 w 8214400"/>
              <a:gd name="connsiteY3" fmla="*/ 0 h 802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14400" h="802259">
                <a:moveTo>
                  <a:pt x="8214400" y="0"/>
                </a:moveTo>
                <a:lnTo>
                  <a:pt x="8214400" y="802259"/>
                </a:lnTo>
                <a:lnTo>
                  <a:pt x="0" y="802259"/>
                </a:lnTo>
                <a:lnTo>
                  <a:pt x="193072" y="0"/>
                </a:lnTo>
                <a:close/>
              </a:path>
            </a:pathLst>
          </a:custGeom>
          <a:gradFill flip="none" rotWithShape="1">
            <a:gsLst>
              <a:gs pos="0">
                <a:srgbClr val="4CC1EF"/>
              </a:gs>
              <a:gs pos="61000">
                <a:srgbClr val="4CC1EF"/>
              </a:gs>
              <a:gs pos="97000">
                <a:srgbClr val="4CC1EF">
                  <a:lumMod val="50000"/>
                </a:srgbClr>
              </a:gs>
            </a:gsLst>
            <a:lin ang="180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="" xmlns:a16="http://schemas.microsoft.com/office/drawing/2014/main" id="{EE283959-CB21-49AF-874D-9FA8D1CD609A}"/>
              </a:ext>
            </a:extLst>
          </p:cNvPr>
          <p:cNvSpPr/>
          <p:nvPr/>
        </p:nvSpPr>
        <p:spPr>
          <a:xfrm>
            <a:off x="2253924" y="1522679"/>
            <a:ext cx="1495753" cy="1136073"/>
          </a:xfrm>
          <a:prstGeom prst="rect">
            <a:avLst/>
          </a:prstGeom>
          <a:solidFill>
            <a:srgbClr val="063951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isometricLeftDown">
              <a:rot lat="1200001" lon="2700000" rev="0"/>
            </a:camera>
            <a:lightRig rig="threePt" dir="t"/>
          </a:scene3d>
          <a:sp3d extrusionH="514350"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1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="" xmlns:a16="http://schemas.microsoft.com/office/drawing/2014/main" id="{FD27001D-A00E-4256-822E-814C8955F872}"/>
              </a:ext>
            </a:extLst>
          </p:cNvPr>
          <p:cNvSpPr/>
          <p:nvPr/>
        </p:nvSpPr>
        <p:spPr>
          <a:xfrm>
            <a:off x="3484131" y="1930148"/>
            <a:ext cx="1495753" cy="1136073"/>
          </a:xfrm>
          <a:prstGeom prst="rect">
            <a:avLst/>
          </a:prstGeom>
          <a:solidFill>
            <a:srgbClr val="F7931F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isometricLeftDown">
              <a:rot lat="1200001" lon="2700000" rev="0"/>
            </a:camera>
            <a:lightRig rig="threePt" dir="t"/>
          </a:scene3d>
          <a:sp3d extrusionH="514350"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2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="" xmlns:a16="http://schemas.microsoft.com/office/drawing/2014/main" id="{BA18C797-F8B0-448C-AD65-7EDBEC3728A5}"/>
              </a:ext>
            </a:extLst>
          </p:cNvPr>
          <p:cNvSpPr/>
          <p:nvPr/>
        </p:nvSpPr>
        <p:spPr>
          <a:xfrm>
            <a:off x="4714337" y="2337618"/>
            <a:ext cx="1495753" cy="1136073"/>
          </a:xfrm>
          <a:prstGeom prst="rect">
            <a:avLst/>
          </a:prstGeom>
          <a:solidFill>
            <a:srgbClr val="4CC1EF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isometricLeftDown">
              <a:rot lat="1200001" lon="2700000" rev="0"/>
            </a:camera>
            <a:lightRig rig="threePt" dir="t"/>
          </a:scene3d>
          <a:sp3d extrusionH="514350"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3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="" xmlns:a16="http://schemas.microsoft.com/office/drawing/2014/main" id="{441C9DF1-4A6D-4B46-AAEB-F1EF889C5B7A}"/>
              </a:ext>
            </a:extLst>
          </p:cNvPr>
          <p:cNvSpPr/>
          <p:nvPr/>
        </p:nvSpPr>
        <p:spPr>
          <a:xfrm rot="20760000">
            <a:off x="554531" y="3277578"/>
            <a:ext cx="344977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Tx/>
              <a:buFontTx/>
              <a:buNone/>
            </a:pPr>
            <a:r>
              <a:rPr lang="en-US" sz="1200" dirty="0" smtClean="0"/>
              <a:t>Understand the concepts for an effective RPA development cycle</a:t>
            </a:r>
            <a:endParaRPr lang="en-US" sz="1350" kern="1200" noProof="1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="" xmlns:a16="http://schemas.microsoft.com/office/drawing/2014/main" id="{C9526540-BFD7-4BA9-AF87-8585B585FB20}"/>
              </a:ext>
            </a:extLst>
          </p:cNvPr>
          <p:cNvSpPr/>
          <p:nvPr/>
        </p:nvSpPr>
        <p:spPr>
          <a:xfrm rot="20760000">
            <a:off x="1759244" y="3679081"/>
            <a:ext cx="344977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Tx/>
              <a:buFontTx/>
              <a:buNone/>
            </a:pPr>
            <a:r>
              <a:rPr lang="en-US" sz="1200" dirty="0"/>
              <a:t>Comply with the </a:t>
            </a:r>
            <a:r>
              <a:rPr lang="en-US" sz="1200" dirty="0" err="1"/>
              <a:t>CoE</a:t>
            </a:r>
            <a:r>
              <a:rPr lang="en-US" sz="1200" dirty="0"/>
              <a:t> methodology when selecting processes for RPA</a:t>
            </a:r>
            <a:endParaRPr lang="en-US" sz="1350" kern="12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="" xmlns:a16="http://schemas.microsoft.com/office/drawing/2014/main" id="{8DB3A04B-89D2-4A55-A5EF-B69229DBAAE3}"/>
              </a:ext>
            </a:extLst>
          </p:cNvPr>
          <p:cNvSpPr/>
          <p:nvPr/>
        </p:nvSpPr>
        <p:spPr>
          <a:xfrm rot="20760000">
            <a:off x="15412" y="2755357"/>
            <a:ext cx="2874052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Tx/>
              <a:buFontTx/>
              <a:buNone/>
            </a:pPr>
            <a:r>
              <a:rPr lang="en-US" sz="1350" kern="1200" noProof="1" smtClean="0">
                <a:solidFill>
                  <a:prstClr val="white"/>
                </a:solidFill>
                <a:latin typeface="Calibri" panose="020F0502020204030204"/>
                <a:ea typeface="+mn-ea"/>
              </a:rPr>
              <a:t>Business will </a:t>
            </a:r>
            <a:r>
              <a:rPr lang="en-US" sz="1350" kern="1200" noProof="1">
                <a:solidFill>
                  <a:prstClr val="white"/>
                </a:solidFill>
                <a:latin typeface="Calibri" panose="020F0502020204030204"/>
                <a:ea typeface="+mn-ea"/>
              </a:rPr>
              <a:t>be aware of the RPA CoE Governance Model</a:t>
            </a:r>
          </a:p>
        </p:txBody>
      </p:sp>
      <p:sp>
        <p:nvSpPr>
          <p:cNvPr id="112" name="Google Shape;59;p14"/>
          <p:cNvSpPr txBox="1">
            <a:spLocks noGrp="1"/>
          </p:cNvSpPr>
          <p:nvPr>
            <p:ph type="title"/>
          </p:nvPr>
        </p:nvSpPr>
        <p:spPr>
          <a:xfrm>
            <a:off x="311700" y="311463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 smtClean="0"/>
              <a:t>OBJECTIVES</a:t>
            </a:r>
            <a:endParaRPr b="1" dirty="0"/>
          </a:p>
        </p:txBody>
      </p:sp>
      <p:sp>
        <p:nvSpPr>
          <p:cNvPr id="118" name="Freeform: Shape 93">
            <a:extLst>
              <a:ext uri="{FF2B5EF4-FFF2-40B4-BE49-F238E27FC236}">
                <a16:creationId xmlns="" xmlns:a16="http://schemas.microsoft.com/office/drawing/2014/main" id="{695697B6-D46E-482E-86E1-D454D25DBA1E}"/>
              </a:ext>
            </a:extLst>
          </p:cNvPr>
          <p:cNvSpPr/>
          <p:nvPr/>
        </p:nvSpPr>
        <p:spPr>
          <a:xfrm rot="20788111">
            <a:off x="-31212" y="4288189"/>
            <a:ext cx="7281878" cy="601694"/>
          </a:xfrm>
          <a:custGeom>
            <a:avLst/>
            <a:gdLst>
              <a:gd name="connsiteX0" fmla="*/ 9709170 w 9709170"/>
              <a:gd name="connsiteY0" fmla="*/ 0 h 802259"/>
              <a:gd name="connsiteX1" fmla="*/ 9709170 w 9709170"/>
              <a:gd name="connsiteY1" fmla="*/ 802259 h 802259"/>
              <a:gd name="connsiteX2" fmla="*/ 3320869 w 9709170"/>
              <a:gd name="connsiteY2" fmla="*/ 802259 h 802259"/>
              <a:gd name="connsiteX3" fmla="*/ 0 w 9709170"/>
              <a:gd name="connsiteY3" fmla="*/ 3059 h 802259"/>
              <a:gd name="connsiteX4" fmla="*/ 736 w 9709170"/>
              <a:gd name="connsiteY4" fmla="*/ 0 h 802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709170" h="802259">
                <a:moveTo>
                  <a:pt x="9709170" y="0"/>
                </a:moveTo>
                <a:lnTo>
                  <a:pt x="9709170" y="802259"/>
                </a:lnTo>
                <a:lnTo>
                  <a:pt x="3320869" y="802259"/>
                </a:lnTo>
                <a:lnTo>
                  <a:pt x="0" y="3059"/>
                </a:lnTo>
                <a:lnTo>
                  <a:pt x="736" y="0"/>
                </a:lnTo>
                <a:close/>
              </a:path>
            </a:pathLst>
          </a:custGeom>
          <a:gradFill flip="none" rotWithShape="1">
            <a:gsLst>
              <a:gs pos="0">
                <a:srgbClr val="A2B969"/>
              </a:gs>
              <a:gs pos="61000">
                <a:srgbClr val="A2B969"/>
              </a:gs>
              <a:gs pos="97000">
                <a:srgbClr val="A2B969">
                  <a:lumMod val="50000"/>
                </a:srgbClr>
              </a:gs>
            </a:gsLst>
            <a:lin ang="180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="" xmlns:a16="http://schemas.microsoft.com/office/drawing/2014/main" id="{081E9BA3-2B63-4835-92F5-DB5A63C38709}"/>
              </a:ext>
            </a:extLst>
          </p:cNvPr>
          <p:cNvSpPr/>
          <p:nvPr/>
        </p:nvSpPr>
        <p:spPr>
          <a:xfrm>
            <a:off x="5944543" y="2745088"/>
            <a:ext cx="1495753" cy="1136073"/>
          </a:xfrm>
          <a:prstGeom prst="rect">
            <a:avLst/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isometricLeftDown">
              <a:rot lat="1200001" lon="2700000" rev="0"/>
            </a:camera>
            <a:lightRig rig="threePt" dir="t"/>
          </a:scene3d>
          <a:sp3d extrusionH="514350"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4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="" xmlns:a16="http://schemas.microsoft.com/office/drawing/2014/main" id="{A2175461-7E20-4F52-987A-DED967158E4E}"/>
              </a:ext>
            </a:extLst>
          </p:cNvPr>
          <p:cNvSpPr/>
          <p:nvPr/>
        </p:nvSpPr>
        <p:spPr>
          <a:xfrm rot="20760000">
            <a:off x="2827652" y="4094850"/>
            <a:ext cx="3449772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Tx/>
              <a:buFontTx/>
              <a:buNone/>
            </a:pPr>
            <a:r>
              <a:rPr lang="en-US" sz="1350" kern="1200" noProof="1" smtClean="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Prepare </a:t>
            </a:r>
            <a:r>
              <a:rPr lang="en-US" sz="1350" kern="1200" noProof="1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necessary documents for the Delivery and Development Phase</a:t>
            </a:r>
          </a:p>
        </p:txBody>
      </p:sp>
    </p:spTree>
    <p:extLst>
      <p:ext uri="{BB962C8B-B14F-4D97-AF65-F5344CB8AC3E}">
        <p14:creationId xmlns:p14="http://schemas.microsoft.com/office/powerpoint/2010/main" val="3877407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p28"/>
          <p:cNvSpPr/>
          <p:nvPr/>
        </p:nvSpPr>
        <p:spPr>
          <a:xfrm>
            <a:off x="1169740" y="695325"/>
            <a:ext cx="3362325" cy="3752850"/>
          </a:xfrm>
          <a:prstGeom prst="roundRect">
            <a:avLst>
              <a:gd name="adj" fmla="val 3204"/>
            </a:avLst>
          </a:prstGeom>
          <a:solidFill>
            <a:schemeClr val="lt2"/>
          </a:solidFill>
          <a:ln>
            <a:noFill/>
          </a:ln>
          <a:effectLst>
            <a:outerShdw blurRad="241300" dist="127000" dir="4800000" algn="t" rotWithShape="0">
              <a:srgbClr val="000000">
                <a:alpha val="23921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5" name="Google Shape;205;p28"/>
          <p:cNvSpPr/>
          <p:nvPr/>
        </p:nvSpPr>
        <p:spPr>
          <a:xfrm>
            <a:off x="1169740" y="2343149"/>
            <a:ext cx="3362325" cy="827941"/>
          </a:xfrm>
          <a:prstGeom prst="rect">
            <a:avLst/>
          </a:prstGeom>
          <a:solidFill>
            <a:srgbClr val="5F8638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r>
              <a:rPr lang="en-US" sz="2400">
                <a:solidFill>
                  <a:schemeClr val="lt1"/>
                </a:solidFill>
              </a:rPr>
              <a:t>   </a:t>
            </a: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206" name="Google Shape;206;p28"/>
          <p:cNvCxnSpPr/>
          <p:nvPr/>
        </p:nvCxnSpPr>
        <p:spPr>
          <a:xfrm rot="10800000" flipH="1">
            <a:off x="1169740" y="4179095"/>
            <a:ext cx="3362325" cy="11169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dash"/>
            <a:miter lim="800000"/>
            <a:headEnd type="none" w="sm" len="sm"/>
            <a:tailEnd type="none" w="sm" len="sm"/>
          </a:ln>
        </p:spPr>
      </p:cxnSp>
      <p:grpSp>
        <p:nvGrpSpPr>
          <p:cNvPr id="208" name="Google Shape;208;p28"/>
          <p:cNvGrpSpPr/>
          <p:nvPr/>
        </p:nvGrpSpPr>
        <p:grpSpPr>
          <a:xfrm>
            <a:off x="1548196" y="2504907"/>
            <a:ext cx="2711074" cy="530915"/>
            <a:chOff x="1689099" y="3060476"/>
            <a:chExt cx="3614765" cy="707886"/>
          </a:xfrm>
        </p:grpSpPr>
        <p:sp>
          <p:nvSpPr>
            <p:cNvPr id="209" name="Google Shape;209;p28"/>
            <p:cNvSpPr/>
            <p:nvPr/>
          </p:nvSpPr>
          <p:spPr>
            <a:xfrm>
              <a:off x="1689099" y="3060476"/>
              <a:ext cx="774701" cy="70788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algn="ctr"/>
              <a:r>
                <a:rPr lang="en-US" sz="3000">
                  <a:solidFill>
                    <a:schemeClr val="lt2"/>
                  </a:solidFill>
                </a:rPr>
                <a:t>03</a:t>
              </a:r>
              <a:endParaRPr sz="1050"/>
            </a:p>
          </p:txBody>
        </p:sp>
        <p:cxnSp>
          <p:nvCxnSpPr>
            <p:cNvPr id="210" name="Google Shape;210;p28"/>
            <p:cNvCxnSpPr/>
            <p:nvPr/>
          </p:nvCxnSpPr>
          <p:spPr>
            <a:xfrm>
              <a:off x="2476500" y="3104371"/>
              <a:ext cx="0" cy="584775"/>
            </a:xfrm>
            <a:prstGeom prst="straightConnector1">
              <a:avLst/>
            </a:prstGeom>
            <a:noFill/>
            <a:ln w="28575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211" name="Google Shape;211;p28"/>
            <p:cNvSpPr/>
            <p:nvPr/>
          </p:nvSpPr>
          <p:spPr>
            <a:xfrm>
              <a:off x="2541764" y="3121987"/>
              <a:ext cx="2762100" cy="6461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r>
                <a:rPr lang="en-US" sz="2000" dirty="0" smtClean="0">
                  <a:solidFill>
                    <a:schemeClr val="lt1"/>
                  </a:solidFill>
                </a:rPr>
                <a:t>RPA Score</a:t>
              </a:r>
              <a:endParaRPr sz="2000" dirty="0"/>
            </a:p>
          </p:txBody>
        </p:sp>
      </p:grpSp>
      <p:sp>
        <p:nvSpPr>
          <p:cNvPr id="212" name="Google Shape;212;p28"/>
          <p:cNvSpPr/>
          <p:nvPr/>
        </p:nvSpPr>
        <p:spPr>
          <a:xfrm>
            <a:off x="4141990" y="1496198"/>
            <a:ext cx="274320" cy="274320"/>
          </a:xfrm>
          <a:prstGeom prst="ellipse">
            <a:avLst/>
          </a:prstGeom>
          <a:solidFill>
            <a:schemeClr val="lt2"/>
          </a:solidFill>
          <a:ln w="38100" cap="flat" cmpd="sng">
            <a:solidFill>
              <a:srgbClr val="5F8638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3" name="Google Shape;213;p28"/>
          <p:cNvSpPr/>
          <p:nvPr/>
        </p:nvSpPr>
        <p:spPr>
          <a:xfrm>
            <a:off x="4141990" y="3743720"/>
            <a:ext cx="274320" cy="274320"/>
          </a:xfrm>
          <a:prstGeom prst="ellipse">
            <a:avLst/>
          </a:prstGeom>
          <a:solidFill>
            <a:schemeClr val="lt2"/>
          </a:solidFill>
          <a:ln w="38100" cap="flat" cmpd="sng">
            <a:solidFill>
              <a:srgbClr val="5F8638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5" name="Google Shape;215;p28"/>
          <p:cNvSpPr/>
          <p:nvPr/>
        </p:nvSpPr>
        <p:spPr>
          <a:xfrm>
            <a:off x="4611935" y="695325"/>
            <a:ext cx="3362325" cy="3752850"/>
          </a:xfrm>
          <a:prstGeom prst="roundRect">
            <a:avLst>
              <a:gd name="adj" fmla="val 3204"/>
            </a:avLst>
          </a:prstGeom>
          <a:solidFill>
            <a:schemeClr val="lt2"/>
          </a:solidFill>
          <a:ln>
            <a:noFill/>
          </a:ln>
          <a:effectLst>
            <a:outerShdw blurRad="241300" dist="127000" dir="4800000" algn="t" rotWithShape="0">
              <a:srgbClr val="000000">
                <a:alpha val="23921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6" name="Google Shape;216;p28"/>
          <p:cNvSpPr/>
          <p:nvPr/>
        </p:nvSpPr>
        <p:spPr>
          <a:xfrm>
            <a:off x="4611935" y="2343149"/>
            <a:ext cx="3362325" cy="82794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r>
              <a:rPr lang="en-US" sz="2400">
                <a:solidFill>
                  <a:schemeClr val="lt1"/>
                </a:solidFill>
              </a:rPr>
              <a:t>   </a:t>
            </a: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18" name="Google Shape;218;p28"/>
          <p:cNvGrpSpPr/>
          <p:nvPr/>
        </p:nvGrpSpPr>
        <p:grpSpPr>
          <a:xfrm>
            <a:off x="4990391" y="2412738"/>
            <a:ext cx="2669433" cy="623094"/>
            <a:chOff x="1689099" y="2937574"/>
            <a:chExt cx="3559244" cy="830788"/>
          </a:xfrm>
        </p:grpSpPr>
        <p:sp>
          <p:nvSpPr>
            <p:cNvPr id="219" name="Google Shape;219;p28"/>
            <p:cNvSpPr/>
            <p:nvPr/>
          </p:nvSpPr>
          <p:spPr>
            <a:xfrm>
              <a:off x="1689099" y="3060476"/>
              <a:ext cx="774701" cy="70788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algn="ctr"/>
              <a:r>
                <a:rPr lang="en-US" sz="3000" dirty="0">
                  <a:solidFill>
                    <a:schemeClr val="lt2"/>
                  </a:solidFill>
                </a:rPr>
                <a:t>04</a:t>
              </a:r>
              <a:endParaRPr sz="1050" dirty="0"/>
            </a:p>
          </p:txBody>
        </p:sp>
        <p:cxnSp>
          <p:nvCxnSpPr>
            <p:cNvPr id="220" name="Google Shape;220;p28"/>
            <p:cNvCxnSpPr/>
            <p:nvPr/>
          </p:nvCxnSpPr>
          <p:spPr>
            <a:xfrm>
              <a:off x="2476500" y="3104371"/>
              <a:ext cx="0" cy="584775"/>
            </a:xfrm>
            <a:prstGeom prst="straightConnector1">
              <a:avLst/>
            </a:prstGeom>
            <a:noFill/>
            <a:ln w="28575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221" name="Google Shape;221;p28"/>
            <p:cNvSpPr/>
            <p:nvPr/>
          </p:nvSpPr>
          <p:spPr>
            <a:xfrm>
              <a:off x="2541743" y="2937574"/>
              <a:ext cx="2706600" cy="6461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r>
                <a:rPr lang="en-US" sz="2000" dirty="0">
                  <a:solidFill>
                    <a:schemeClr val="lt1"/>
                  </a:solidFill>
                </a:rPr>
                <a:t>Operational Information</a:t>
              </a:r>
            </a:p>
          </p:txBody>
        </p:sp>
      </p:grpSp>
      <p:sp>
        <p:nvSpPr>
          <p:cNvPr id="222" name="Google Shape;222;p28"/>
          <p:cNvSpPr/>
          <p:nvPr/>
        </p:nvSpPr>
        <p:spPr>
          <a:xfrm flipH="1">
            <a:off x="4737502" y="1496198"/>
            <a:ext cx="274320" cy="274320"/>
          </a:xfrm>
          <a:prstGeom prst="ellipse">
            <a:avLst/>
          </a:prstGeom>
          <a:solidFill>
            <a:schemeClr val="lt2"/>
          </a:solidFill>
          <a:ln w="381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3" name="Google Shape;223;p28"/>
          <p:cNvSpPr/>
          <p:nvPr/>
        </p:nvSpPr>
        <p:spPr>
          <a:xfrm flipH="1">
            <a:off x="4737502" y="3743720"/>
            <a:ext cx="274320" cy="274320"/>
          </a:xfrm>
          <a:prstGeom prst="ellipse">
            <a:avLst/>
          </a:prstGeom>
          <a:solidFill>
            <a:schemeClr val="lt2"/>
          </a:solidFill>
          <a:ln w="381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224" name="Google Shape;224;p28"/>
          <p:cNvCxnSpPr/>
          <p:nvPr/>
        </p:nvCxnSpPr>
        <p:spPr>
          <a:xfrm rot="10800000" flipH="1">
            <a:off x="4611935" y="4179095"/>
            <a:ext cx="3362325" cy="11169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419" name="Google Shape;177;p27"/>
          <p:cNvSpPr/>
          <p:nvPr/>
        </p:nvSpPr>
        <p:spPr>
          <a:xfrm>
            <a:off x="1328445" y="1424269"/>
            <a:ext cx="2733675" cy="692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algn="ctr"/>
            <a:r>
              <a:rPr lang="en-PH" sz="1300" dirty="0" smtClean="0"/>
              <a:t>DEGREE OF DIFFICULTY TO AUTOMATE A PROCESS</a:t>
            </a:r>
            <a:endParaRPr lang="en-PH" sz="1300" dirty="0"/>
          </a:p>
        </p:txBody>
      </p:sp>
      <p:sp>
        <p:nvSpPr>
          <p:cNvPr id="420" name="Google Shape;177;p27"/>
          <p:cNvSpPr/>
          <p:nvPr/>
        </p:nvSpPr>
        <p:spPr>
          <a:xfrm>
            <a:off x="5091692" y="1397040"/>
            <a:ext cx="2733675" cy="692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algn="ctr"/>
            <a:r>
              <a:rPr lang="en-US" sz="1300" dirty="0" smtClean="0">
                <a:solidFill>
                  <a:srgbClr val="595959"/>
                </a:solidFill>
              </a:rPr>
              <a:t>DETAILS OF THE PROCESS</a:t>
            </a:r>
            <a:endParaRPr sz="1300" dirty="0"/>
          </a:p>
        </p:txBody>
      </p:sp>
      <p:sp>
        <p:nvSpPr>
          <p:cNvPr id="421" name="Google Shape;177;p27"/>
          <p:cNvSpPr/>
          <p:nvPr/>
        </p:nvSpPr>
        <p:spPr>
          <a:xfrm>
            <a:off x="1345531" y="3214266"/>
            <a:ext cx="2733675" cy="692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algn="just"/>
            <a:endParaRPr lang="en-US" sz="1200" dirty="0" smtClean="0">
              <a:solidFill>
                <a:srgbClr val="595959"/>
              </a:solidFill>
            </a:endParaRPr>
          </a:p>
        </p:txBody>
      </p:sp>
      <p:sp>
        <p:nvSpPr>
          <p:cNvPr id="422" name="Google Shape;177;p27"/>
          <p:cNvSpPr/>
          <p:nvPr/>
        </p:nvSpPr>
        <p:spPr>
          <a:xfrm>
            <a:off x="5079327" y="3243319"/>
            <a:ext cx="2733675" cy="692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algn="just"/>
            <a:endParaRPr lang="en-US" sz="1200" dirty="0" smtClean="0">
              <a:solidFill>
                <a:srgbClr val="595959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4073236" y="124687"/>
            <a:ext cx="1246909" cy="259773"/>
          </a:xfrm>
          <a:prstGeom prst="rect">
            <a:avLst/>
          </a:prstGeom>
          <a:solidFill>
            <a:srgbClr val="000000">
              <a:lumMod val="50000"/>
              <a:lumOff val="5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COVERY</a:t>
            </a:r>
          </a:p>
        </p:txBody>
      </p:sp>
      <p:sp>
        <p:nvSpPr>
          <p:cNvPr id="34" name="Rectangle 33"/>
          <p:cNvSpPr/>
          <p:nvPr/>
        </p:nvSpPr>
        <p:spPr>
          <a:xfrm>
            <a:off x="6567054" y="120997"/>
            <a:ext cx="1246909" cy="259773"/>
          </a:xfrm>
          <a:prstGeom prst="rect">
            <a:avLst/>
          </a:prstGeom>
          <a:solidFill>
            <a:srgbClr val="000000">
              <a:lumMod val="50000"/>
              <a:lumOff val="5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LEMENTATION</a:t>
            </a:r>
          </a:p>
        </p:txBody>
      </p:sp>
      <p:sp>
        <p:nvSpPr>
          <p:cNvPr id="35" name="Rectangle 34"/>
          <p:cNvSpPr/>
          <p:nvPr/>
        </p:nvSpPr>
        <p:spPr>
          <a:xfrm>
            <a:off x="7813963" y="120997"/>
            <a:ext cx="1246909" cy="259773"/>
          </a:xfrm>
          <a:prstGeom prst="rect">
            <a:avLst/>
          </a:prstGeom>
          <a:solidFill>
            <a:srgbClr val="000000">
              <a:lumMod val="50000"/>
              <a:lumOff val="5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ERATIONS</a:t>
            </a:r>
          </a:p>
        </p:txBody>
      </p:sp>
      <p:sp>
        <p:nvSpPr>
          <p:cNvPr id="36" name="Rectangle 35"/>
          <p:cNvSpPr/>
          <p:nvPr/>
        </p:nvSpPr>
        <p:spPr>
          <a:xfrm>
            <a:off x="5320145" y="122842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OLUTIONING</a:t>
            </a:r>
            <a:endParaRPr lang="en-US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2826327" y="122842"/>
            <a:ext cx="1246909" cy="259773"/>
          </a:xfrm>
          <a:prstGeom prst="rect">
            <a:avLst/>
          </a:prstGeom>
          <a:solidFill>
            <a:srgbClr val="FF0000">
              <a:lumMod val="60000"/>
              <a:lumOff val="4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EATION</a:t>
            </a:r>
          </a:p>
        </p:txBody>
      </p:sp>
      <p:sp>
        <p:nvSpPr>
          <p:cNvPr id="38" name="Google Shape;177;p27"/>
          <p:cNvSpPr/>
          <p:nvPr/>
        </p:nvSpPr>
        <p:spPr>
          <a:xfrm>
            <a:off x="1328445" y="3283797"/>
            <a:ext cx="2733675" cy="692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sz="800" dirty="0" smtClean="0"/>
              <a:t>COMPLEX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sz="800" dirty="0" smtClean="0"/>
              <a:t>EFFO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sz="800" dirty="0" smtClean="0"/>
              <a:t>OTHER FACTORS</a:t>
            </a:r>
          </a:p>
        </p:txBody>
      </p:sp>
      <p:sp>
        <p:nvSpPr>
          <p:cNvPr id="39" name="Google Shape;177;p27"/>
          <p:cNvSpPr/>
          <p:nvPr/>
        </p:nvSpPr>
        <p:spPr>
          <a:xfrm>
            <a:off x="5084641" y="3282517"/>
            <a:ext cx="2733675" cy="692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sz="800" dirty="0"/>
              <a:t>OPERATING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sz="800" dirty="0"/>
              <a:t>FREQUEN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sz="800" dirty="0"/>
              <a:t>SEVICE LEVEL AGRE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sz="800" dirty="0"/>
              <a:t>MAN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sz="800" dirty="0"/>
              <a:t>VOLUME</a:t>
            </a:r>
          </a:p>
        </p:txBody>
      </p:sp>
      <p:sp>
        <p:nvSpPr>
          <p:cNvPr id="40" name="Google Shape;59;p14"/>
          <p:cNvSpPr txBox="1">
            <a:spLocks/>
          </p:cNvSpPr>
          <p:nvPr/>
        </p:nvSpPr>
        <p:spPr>
          <a:xfrm>
            <a:off x="2004" y="4575074"/>
            <a:ext cx="9141995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800" b="1" dirty="0" smtClean="0">
                <a:solidFill>
                  <a:schemeClr val="bg1"/>
                </a:solidFill>
              </a:rPr>
              <a:t>BASIC INFORMATION FOR PROCESS SELECTION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41" name="Google Shape;174;p27"/>
          <p:cNvSpPr/>
          <p:nvPr/>
        </p:nvSpPr>
        <p:spPr>
          <a:xfrm>
            <a:off x="4611933" y="699015"/>
            <a:ext cx="3362325" cy="3752850"/>
          </a:xfrm>
          <a:prstGeom prst="roundRect">
            <a:avLst>
              <a:gd name="adj" fmla="val 3204"/>
            </a:avLst>
          </a:prstGeom>
          <a:solidFill>
            <a:srgbClr val="D9D9D9">
              <a:alpha val="70980"/>
            </a:srgbClr>
          </a:solidFill>
          <a:ln>
            <a:noFill/>
          </a:ln>
          <a:effectLst>
            <a:outerShdw blurRad="241300" dist="127000" dir="4800000" algn="t" rotWithShape="0">
              <a:srgbClr val="000000">
                <a:alpha val="23921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5" name="Google Shape;225;p28"/>
          <p:cNvSpPr/>
          <p:nvPr/>
        </p:nvSpPr>
        <p:spPr>
          <a:xfrm>
            <a:off x="4259158" y="1547490"/>
            <a:ext cx="617220" cy="17145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BFBFBF"/>
              </a:gs>
              <a:gs pos="16000">
                <a:srgbClr val="BFBFBF"/>
              </a:gs>
              <a:gs pos="50000">
                <a:schemeClr val="lt1"/>
              </a:gs>
              <a:gs pos="84000">
                <a:srgbClr val="BFBFBF"/>
              </a:gs>
              <a:gs pos="100000">
                <a:srgbClr val="BFBFBF"/>
              </a:gs>
            </a:gsLst>
            <a:lin ang="0" scaled="0"/>
          </a:gra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6" name="Google Shape;226;p28"/>
          <p:cNvSpPr/>
          <p:nvPr/>
        </p:nvSpPr>
        <p:spPr>
          <a:xfrm>
            <a:off x="4259158" y="3803276"/>
            <a:ext cx="617220" cy="17145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BFBFBF"/>
              </a:gs>
              <a:gs pos="16000">
                <a:srgbClr val="BFBFBF"/>
              </a:gs>
              <a:gs pos="50000">
                <a:schemeClr val="lt1"/>
              </a:gs>
              <a:gs pos="84000">
                <a:srgbClr val="BFBFBF"/>
              </a:gs>
              <a:gs pos="100000">
                <a:srgbClr val="BFBFBF"/>
              </a:gs>
            </a:gsLst>
            <a:lin ang="0" scaled="0"/>
          </a:gra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12717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" name="Google Shape;276;p3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IN" dirty="0" smtClean="0">
                <a:solidFill>
                  <a:schemeClr val="bg1"/>
                </a:solidFill>
              </a:rPr>
              <a:t>Complexity Matrix</a:t>
            </a:r>
            <a:endParaRPr dirty="0">
              <a:solidFill>
                <a:schemeClr val="bg1"/>
              </a:solidFill>
            </a:endParaRPr>
          </a:p>
        </p:txBody>
      </p:sp>
      <p:pic>
        <p:nvPicPr>
          <p:cNvPr id="14" name="Picture 13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118" y="768403"/>
            <a:ext cx="6673349" cy="408790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7322884" y="960504"/>
            <a:ext cx="1544491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PH" dirty="0" smtClean="0">
                <a:solidFill>
                  <a:schemeClr val="bg1"/>
                </a:solidFill>
              </a:rPr>
              <a:t>This will determine the development days needed for the process</a:t>
            </a:r>
            <a:endParaRPr lang="en-PH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5909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p28"/>
          <p:cNvSpPr/>
          <p:nvPr/>
        </p:nvSpPr>
        <p:spPr>
          <a:xfrm>
            <a:off x="1169740" y="695325"/>
            <a:ext cx="3362325" cy="3752850"/>
          </a:xfrm>
          <a:prstGeom prst="roundRect">
            <a:avLst>
              <a:gd name="adj" fmla="val 3204"/>
            </a:avLst>
          </a:prstGeom>
          <a:solidFill>
            <a:schemeClr val="lt2"/>
          </a:solidFill>
          <a:ln>
            <a:noFill/>
          </a:ln>
          <a:effectLst>
            <a:outerShdw blurRad="241300" dist="127000" dir="4800000" algn="t" rotWithShape="0">
              <a:srgbClr val="000000">
                <a:alpha val="23921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5" name="Google Shape;205;p28"/>
          <p:cNvSpPr/>
          <p:nvPr/>
        </p:nvSpPr>
        <p:spPr>
          <a:xfrm>
            <a:off x="1169740" y="2343149"/>
            <a:ext cx="3362325" cy="827941"/>
          </a:xfrm>
          <a:prstGeom prst="rect">
            <a:avLst/>
          </a:prstGeom>
          <a:solidFill>
            <a:srgbClr val="5F8638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r>
              <a:rPr lang="en-US" sz="2400">
                <a:solidFill>
                  <a:schemeClr val="lt1"/>
                </a:solidFill>
              </a:rPr>
              <a:t>   </a:t>
            </a: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206" name="Google Shape;206;p28"/>
          <p:cNvCxnSpPr/>
          <p:nvPr/>
        </p:nvCxnSpPr>
        <p:spPr>
          <a:xfrm rot="10800000" flipH="1">
            <a:off x="1169740" y="4179095"/>
            <a:ext cx="3362325" cy="11169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dash"/>
            <a:miter lim="800000"/>
            <a:headEnd type="none" w="sm" len="sm"/>
            <a:tailEnd type="none" w="sm" len="sm"/>
          </a:ln>
        </p:spPr>
      </p:cxnSp>
      <p:grpSp>
        <p:nvGrpSpPr>
          <p:cNvPr id="208" name="Google Shape;208;p28"/>
          <p:cNvGrpSpPr/>
          <p:nvPr/>
        </p:nvGrpSpPr>
        <p:grpSpPr>
          <a:xfrm>
            <a:off x="1548196" y="2504910"/>
            <a:ext cx="2711074" cy="553835"/>
            <a:chOff x="1689099" y="3060476"/>
            <a:chExt cx="3614765" cy="738445"/>
          </a:xfrm>
        </p:grpSpPr>
        <p:sp>
          <p:nvSpPr>
            <p:cNvPr id="209" name="Google Shape;209;p28"/>
            <p:cNvSpPr/>
            <p:nvPr/>
          </p:nvSpPr>
          <p:spPr>
            <a:xfrm>
              <a:off x="1689099" y="3060476"/>
              <a:ext cx="774701" cy="70788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algn="ctr"/>
              <a:r>
                <a:rPr lang="en-US" sz="3000">
                  <a:solidFill>
                    <a:schemeClr val="lt2"/>
                  </a:solidFill>
                </a:rPr>
                <a:t>03</a:t>
              </a:r>
              <a:endParaRPr sz="1050"/>
            </a:p>
          </p:txBody>
        </p:sp>
        <p:cxnSp>
          <p:nvCxnSpPr>
            <p:cNvPr id="210" name="Google Shape;210;p28"/>
            <p:cNvCxnSpPr/>
            <p:nvPr/>
          </p:nvCxnSpPr>
          <p:spPr>
            <a:xfrm>
              <a:off x="2476500" y="3104371"/>
              <a:ext cx="0" cy="584775"/>
            </a:xfrm>
            <a:prstGeom prst="straightConnector1">
              <a:avLst/>
            </a:prstGeom>
            <a:noFill/>
            <a:ln w="28575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211" name="Google Shape;211;p28"/>
            <p:cNvSpPr/>
            <p:nvPr/>
          </p:nvSpPr>
          <p:spPr>
            <a:xfrm>
              <a:off x="2541764" y="3152722"/>
              <a:ext cx="2762100" cy="6461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r>
                <a:rPr lang="en-US" sz="2000" dirty="0" smtClean="0">
                  <a:solidFill>
                    <a:schemeClr val="lt1"/>
                  </a:solidFill>
                </a:rPr>
                <a:t>RPA Score</a:t>
              </a:r>
              <a:endParaRPr sz="2000" dirty="0"/>
            </a:p>
          </p:txBody>
        </p:sp>
      </p:grpSp>
      <p:sp>
        <p:nvSpPr>
          <p:cNvPr id="212" name="Google Shape;212;p28"/>
          <p:cNvSpPr/>
          <p:nvPr/>
        </p:nvSpPr>
        <p:spPr>
          <a:xfrm>
            <a:off x="4141990" y="1496198"/>
            <a:ext cx="274320" cy="274320"/>
          </a:xfrm>
          <a:prstGeom prst="ellipse">
            <a:avLst/>
          </a:prstGeom>
          <a:solidFill>
            <a:schemeClr val="lt2"/>
          </a:solidFill>
          <a:ln w="38100" cap="flat" cmpd="sng">
            <a:solidFill>
              <a:srgbClr val="5F8638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3" name="Google Shape;213;p28"/>
          <p:cNvSpPr/>
          <p:nvPr/>
        </p:nvSpPr>
        <p:spPr>
          <a:xfrm>
            <a:off x="4141990" y="3743720"/>
            <a:ext cx="274320" cy="274320"/>
          </a:xfrm>
          <a:prstGeom prst="ellipse">
            <a:avLst/>
          </a:prstGeom>
          <a:solidFill>
            <a:schemeClr val="lt2"/>
          </a:solidFill>
          <a:ln w="38100" cap="flat" cmpd="sng">
            <a:solidFill>
              <a:srgbClr val="5F8638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5" name="Google Shape;215;p28"/>
          <p:cNvSpPr/>
          <p:nvPr/>
        </p:nvSpPr>
        <p:spPr>
          <a:xfrm>
            <a:off x="4611935" y="695325"/>
            <a:ext cx="3362325" cy="3752850"/>
          </a:xfrm>
          <a:prstGeom prst="roundRect">
            <a:avLst>
              <a:gd name="adj" fmla="val 3204"/>
            </a:avLst>
          </a:prstGeom>
          <a:solidFill>
            <a:schemeClr val="lt2"/>
          </a:solidFill>
          <a:ln>
            <a:noFill/>
          </a:ln>
          <a:effectLst>
            <a:outerShdw blurRad="241300" dist="127000" dir="4800000" algn="t" rotWithShape="0">
              <a:srgbClr val="000000">
                <a:alpha val="23921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6" name="Google Shape;216;p28"/>
          <p:cNvSpPr/>
          <p:nvPr/>
        </p:nvSpPr>
        <p:spPr>
          <a:xfrm>
            <a:off x="4611935" y="2343149"/>
            <a:ext cx="3362325" cy="82794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r>
              <a:rPr lang="en-US" sz="2400">
                <a:solidFill>
                  <a:schemeClr val="lt1"/>
                </a:solidFill>
              </a:rPr>
              <a:t>   </a:t>
            </a: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18" name="Google Shape;218;p28"/>
          <p:cNvGrpSpPr/>
          <p:nvPr/>
        </p:nvGrpSpPr>
        <p:grpSpPr>
          <a:xfrm>
            <a:off x="4990391" y="2412738"/>
            <a:ext cx="2669433" cy="623094"/>
            <a:chOff x="1689099" y="2937574"/>
            <a:chExt cx="3559244" cy="830788"/>
          </a:xfrm>
        </p:grpSpPr>
        <p:sp>
          <p:nvSpPr>
            <p:cNvPr id="219" name="Google Shape;219;p28"/>
            <p:cNvSpPr/>
            <p:nvPr/>
          </p:nvSpPr>
          <p:spPr>
            <a:xfrm>
              <a:off x="1689099" y="3060476"/>
              <a:ext cx="774701" cy="70788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algn="ctr"/>
              <a:r>
                <a:rPr lang="en-US" sz="3000" dirty="0">
                  <a:solidFill>
                    <a:schemeClr val="lt2"/>
                  </a:solidFill>
                </a:rPr>
                <a:t>04</a:t>
              </a:r>
              <a:endParaRPr sz="1050" dirty="0"/>
            </a:p>
          </p:txBody>
        </p:sp>
        <p:cxnSp>
          <p:nvCxnSpPr>
            <p:cNvPr id="220" name="Google Shape;220;p28"/>
            <p:cNvCxnSpPr/>
            <p:nvPr/>
          </p:nvCxnSpPr>
          <p:spPr>
            <a:xfrm>
              <a:off x="2476500" y="3104371"/>
              <a:ext cx="0" cy="584775"/>
            </a:xfrm>
            <a:prstGeom prst="straightConnector1">
              <a:avLst/>
            </a:prstGeom>
            <a:noFill/>
            <a:ln w="28575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221" name="Google Shape;221;p28"/>
            <p:cNvSpPr/>
            <p:nvPr/>
          </p:nvSpPr>
          <p:spPr>
            <a:xfrm>
              <a:off x="2541743" y="2937574"/>
              <a:ext cx="2706600" cy="6461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r>
                <a:rPr lang="en-US" sz="2000" dirty="0">
                  <a:solidFill>
                    <a:schemeClr val="lt1"/>
                  </a:solidFill>
                </a:rPr>
                <a:t>Operational Information</a:t>
              </a:r>
            </a:p>
          </p:txBody>
        </p:sp>
      </p:grpSp>
      <p:sp>
        <p:nvSpPr>
          <p:cNvPr id="222" name="Google Shape;222;p28"/>
          <p:cNvSpPr/>
          <p:nvPr/>
        </p:nvSpPr>
        <p:spPr>
          <a:xfrm flipH="1">
            <a:off x="4737502" y="1496198"/>
            <a:ext cx="274320" cy="274320"/>
          </a:xfrm>
          <a:prstGeom prst="ellipse">
            <a:avLst/>
          </a:prstGeom>
          <a:solidFill>
            <a:schemeClr val="lt2"/>
          </a:solidFill>
          <a:ln w="381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3" name="Google Shape;223;p28"/>
          <p:cNvSpPr/>
          <p:nvPr/>
        </p:nvSpPr>
        <p:spPr>
          <a:xfrm flipH="1">
            <a:off x="4737502" y="3743720"/>
            <a:ext cx="274320" cy="274320"/>
          </a:xfrm>
          <a:prstGeom prst="ellipse">
            <a:avLst/>
          </a:prstGeom>
          <a:solidFill>
            <a:schemeClr val="lt2"/>
          </a:solidFill>
          <a:ln w="381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224" name="Google Shape;224;p28"/>
          <p:cNvCxnSpPr/>
          <p:nvPr/>
        </p:nvCxnSpPr>
        <p:spPr>
          <a:xfrm rot="10800000" flipH="1">
            <a:off x="4611935" y="4179095"/>
            <a:ext cx="3362325" cy="11169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419" name="Google Shape;177;p27"/>
          <p:cNvSpPr/>
          <p:nvPr/>
        </p:nvSpPr>
        <p:spPr>
          <a:xfrm>
            <a:off x="1328445" y="1424269"/>
            <a:ext cx="2733675" cy="692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algn="ctr"/>
            <a:r>
              <a:rPr lang="en-PH" sz="1300" dirty="0"/>
              <a:t>DEGREE OF DIFFICULTY TO AUTOMATE A PROCESS</a:t>
            </a:r>
          </a:p>
        </p:txBody>
      </p:sp>
      <p:sp>
        <p:nvSpPr>
          <p:cNvPr id="420" name="Google Shape;177;p27"/>
          <p:cNvSpPr/>
          <p:nvPr/>
        </p:nvSpPr>
        <p:spPr>
          <a:xfrm>
            <a:off x="5091692" y="1397040"/>
            <a:ext cx="2733675" cy="692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algn="ctr"/>
            <a:r>
              <a:rPr lang="en-US" sz="1300" dirty="0" smtClean="0">
                <a:solidFill>
                  <a:srgbClr val="595959"/>
                </a:solidFill>
              </a:rPr>
              <a:t>DETAILS OF THE PROCESS</a:t>
            </a:r>
            <a:endParaRPr sz="1300" dirty="0"/>
          </a:p>
        </p:txBody>
      </p:sp>
      <p:sp>
        <p:nvSpPr>
          <p:cNvPr id="421" name="Google Shape;177;p27"/>
          <p:cNvSpPr/>
          <p:nvPr/>
        </p:nvSpPr>
        <p:spPr>
          <a:xfrm>
            <a:off x="1345531" y="3214266"/>
            <a:ext cx="2733675" cy="692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algn="just"/>
            <a:endParaRPr lang="en-US" sz="1200" dirty="0" smtClean="0">
              <a:solidFill>
                <a:srgbClr val="595959"/>
              </a:solidFill>
            </a:endParaRPr>
          </a:p>
        </p:txBody>
      </p:sp>
      <p:sp>
        <p:nvSpPr>
          <p:cNvPr id="422" name="Google Shape;177;p27"/>
          <p:cNvSpPr/>
          <p:nvPr/>
        </p:nvSpPr>
        <p:spPr>
          <a:xfrm>
            <a:off x="5079327" y="3243319"/>
            <a:ext cx="2733675" cy="692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algn="just"/>
            <a:endParaRPr lang="en-US" sz="1200" dirty="0" smtClean="0">
              <a:solidFill>
                <a:srgbClr val="595959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4073236" y="124687"/>
            <a:ext cx="1246909" cy="259773"/>
          </a:xfrm>
          <a:prstGeom prst="rect">
            <a:avLst/>
          </a:prstGeom>
          <a:solidFill>
            <a:srgbClr val="000000">
              <a:lumMod val="50000"/>
              <a:lumOff val="5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COVERY</a:t>
            </a:r>
          </a:p>
        </p:txBody>
      </p:sp>
      <p:sp>
        <p:nvSpPr>
          <p:cNvPr id="34" name="Rectangle 33"/>
          <p:cNvSpPr/>
          <p:nvPr/>
        </p:nvSpPr>
        <p:spPr>
          <a:xfrm>
            <a:off x="6567054" y="120997"/>
            <a:ext cx="1246909" cy="259773"/>
          </a:xfrm>
          <a:prstGeom prst="rect">
            <a:avLst/>
          </a:prstGeom>
          <a:solidFill>
            <a:srgbClr val="000000">
              <a:lumMod val="50000"/>
              <a:lumOff val="5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LEMENTATION</a:t>
            </a:r>
          </a:p>
        </p:txBody>
      </p:sp>
      <p:sp>
        <p:nvSpPr>
          <p:cNvPr id="35" name="Rectangle 34"/>
          <p:cNvSpPr/>
          <p:nvPr/>
        </p:nvSpPr>
        <p:spPr>
          <a:xfrm>
            <a:off x="7813963" y="120997"/>
            <a:ext cx="1246909" cy="259773"/>
          </a:xfrm>
          <a:prstGeom prst="rect">
            <a:avLst/>
          </a:prstGeom>
          <a:solidFill>
            <a:srgbClr val="000000">
              <a:lumMod val="50000"/>
              <a:lumOff val="5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ERATIONS</a:t>
            </a:r>
          </a:p>
        </p:txBody>
      </p:sp>
      <p:sp>
        <p:nvSpPr>
          <p:cNvPr id="36" name="Rectangle 35"/>
          <p:cNvSpPr/>
          <p:nvPr/>
        </p:nvSpPr>
        <p:spPr>
          <a:xfrm>
            <a:off x="5320145" y="122842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OLUTIONING</a:t>
            </a:r>
            <a:endParaRPr lang="en-US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2826327" y="122842"/>
            <a:ext cx="1246909" cy="259773"/>
          </a:xfrm>
          <a:prstGeom prst="rect">
            <a:avLst/>
          </a:prstGeom>
          <a:solidFill>
            <a:srgbClr val="FF0000">
              <a:lumMod val="60000"/>
              <a:lumOff val="4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EATION</a:t>
            </a:r>
          </a:p>
        </p:txBody>
      </p:sp>
      <p:sp>
        <p:nvSpPr>
          <p:cNvPr id="38" name="Google Shape;177;p27"/>
          <p:cNvSpPr/>
          <p:nvPr/>
        </p:nvSpPr>
        <p:spPr>
          <a:xfrm>
            <a:off x="1328445" y="3283797"/>
            <a:ext cx="2733675" cy="692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sz="800" dirty="0" smtClean="0"/>
              <a:t>COMPLEX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sz="800" dirty="0" smtClean="0"/>
              <a:t>EFFO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sz="800" dirty="0" smtClean="0"/>
              <a:t>OTHER FACTORS</a:t>
            </a:r>
          </a:p>
        </p:txBody>
      </p:sp>
      <p:sp>
        <p:nvSpPr>
          <p:cNvPr id="39" name="Google Shape;177;p27"/>
          <p:cNvSpPr/>
          <p:nvPr/>
        </p:nvSpPr>
        <p:spPr>
          <a:xfrm>
            <a:off x="5084641" y="3282517"/>
            <a:ext cx="2733675" cy="692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sz="800" dirty="0"/>
              <a:t>OPERATING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sz="800" dirty="0"/>
              <a:t>FREQUEN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sz="800" dirty="0"/>
              <a:t>SEVICE LEVEL AGRE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sz="800" dirty="0"/>
              <a:t>MAN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sz="800" dirty="0" smtClean="0"/>
              <a:t>VOLU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sz="800" dirty="0" smtClean="0"/>
              <a:t>HANDLE DU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sz="800" dirty="0" smtClean="0"/>
              <a:t>SERVICE LEVEL AGREEMENT</a:t>
            </a:r>
            <a:endParaRPr lang="en-PH" sz="800" dirty="0"/>
          </a:p>
        </p:txBody>
      </p:sp>
      <p:sp>
        <p:nvSpPr>
          <p:cNvPr id="40" name="Google Shape;59;p14"/>
          <p:cNvSpPr txBox="1">
            <a:spLocks/>
          </p:cNvSpPr>
          <p:nvPr/>
        </p:nvSpPr>
        <p:spPr>
          <a:xfrm>
            <a:off x="2004" y="4575074"/>
            <a:ext cx="9141995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800" b="1" dirty="0" smtClean="0">
                <a:solidFill>
                  <a:schemeClr val="bg1"/>
                </a:solidFill>
              </a:rPr>
              <a:t>BASIC INFORMATION FOR PROCESS SELECTION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41" name="Google Shape;174;p27"/>
          <p:cNvSpPr/>
          <p:nvPr/>
        </p:nvSpPr>
        <p:spPr>
          <a:xfrm>
            <a:off x="1160214" y="716923"/>
            <a:ext cx="3362325" cy="3752850"/>
          </a:xfrm>
          <a:prstGeom prst="roundRect">
            <a:avLst>
              <a:gd name="adj" fmla="val 3204"/>
            </a:avLst>
          </a:prstGeom>
          <a:solidFill>
            <a:srgbClr val="D9D9D9">
              <a:alpha val="70980"/>
            </a:srgbClr>
          </a:solidFill>
          <a:ln>
            <a:noFill/>
          </a:ln>
          <a:effectLst>
            <a:outerShdw blurRad="241300" dist="127000" dir="4800000" algn="t" rotWithShape="0">
              <a:srgbClr val="000000">
                <a:alpha val="23921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5" name="Google Shape;225;p28"/>
          <p:cNvSpPr/>
          <p:nvPr/>
        </p:nvSpPr>
        <p:spPr>
          <a:xfrm>
            <a:off x="4259158" y="1547490"/>
            <a:ext cx="617220" cy="17145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BFBFBF"/>
              </a:gs>
              <a:gs pos="16000">
                <a:srgbClr val="BFBFBF"/>
              </a:gs>
              <a:gs pos="50000">
                <a:schemeClr val="lt1"/>
              </a:gs>
              <a:gs pos="84000">
                <a:srgbClr val="BFBFBF"/>
              </a:gs>
              <a:gs pos="100000">
                <a:srgbClr val="BFBFBF"/>
              </a:gs>
            </a:gsLst>
            <a:lin ang="0" scaled="0"/>
          </a:gra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6" name="Google Shape;226;p28"/>
          <p:cNvSpPr/>
          <p:nvPr/>
        </p:nvSpPr>
        <p:spPr>
          <a:xfrm>
            <a:off x="4259158" y="3803276"/>
            <a:ext cx="617220" cy="17145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BFBFBF"/>
              </a:gs>
              <a:gs pos="16000">
                <a:srgbClr val="BFBFBF"/>
              </a:gs>
              <a:gs pos="50000">
                <a:schemeClr val="lt1"/>
              </a:gs>
              <a:gs pos="84000">
                <a:srgbClr val="BFBFBF"/>
              </a:gs>
              <a:gs pos="100000">
                <a:srgbClr val="BFBFBF"/>
              </a:gs>
            </a:gsLst>
            <a:lin ang="0" scaled="0"/>
          </a:gra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24780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" name="Google Shape;276;p3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IN" dirty="0" smtClean="0">
                <a:solidFill>
                  <a:schemeClr val="bg1"/>
                </a:solidFill>
              </a:rPr>
              <a:t>Type of Licenses</a:t>
            </a:r>
            <a:endParaRPr dirty="0">
              <a:solidFill>
                <a:schemeClr val="bg1"/>
              </a:solidFill>
            </a:endParaRPr>
          </a:p>
        </p:txBody>
      </p:sp>
      <p:pic>
        <p:nvPicPr>
          <p:cNvPr id="19458" name="Picture 2" descr="https://enthink.com/-/media/Images/Icons/attendedRobot_icon_141x156.ashx?la=en&amp;hash=491BE3AE93E141379AA51B4E55882C2D9C1F0CD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5440" y="1174560"/>
            <a:ext cx="2687517" cy="29734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https://enthink.com/-/media/Images/Content/Campaigns/RPA/hybridRobot_icon/hybridRobot_icon_141x156.ashx?h=156&amp;w=141&amp;hash=AF9EAE7EA1748BB02EAA3E751A1EAC2C1A04F88A&amp;la=e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6097" y="1174383"/>
            <a:ext cx="2687677" cy="297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1116097" y="4533580"/>
            <a:ext cx="2633711" cy="30736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H" dirty="0" smtClean="0"/>
              <a:t>Attended</a:t>
            </a:r>
            <a:endParaRPr lang="en-PH" dirty="0"/>
          </a:p>
        </p:txBody>
      </p:sp>
      <p:sp>
        <p:nvSpPr>
          <p:cNvPr id="17" name="Rectangle 16"/>
          <p:cNvSpPr/>
          <p:nvPr/>
        </p:nvSpPr>
        <p:spPr>
          <a:xfrm>
            <a:off x="5656061" y="4532300"/>
            <a:ext cx="2633711" cy="30736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H" dirty="0" smtClean="0"/>
              <a:t>Unattended</a:t>
            </a:r>
            <a:endParaRPr lang="en-PH" dirty="0"/>
          </a:p>
        </p:txBody>
      </p:sp>
    </p:spTree>
    <p:extLst>
      <p:ext uri="{BB962C8B-B14F-4D97-AF65-F5344CB8AC3E}">
        <p14:creationId xmlns:p14="http://schemas.microsoft.com/office/powerpoint/2010/main" val="3135202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" name="Google Shape;276;p3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IN" dirty="0" smtClean="0">
                <a:solidFill>
                  <a:schemeClr val="bg1"/>
                </a:solidFill>
              </a:rPr>
              <a:t>Attended Robots</a:t>
            </a:r>
            <a:endParaRPr dirty="0">
              <a:solidFill>
                <a:schemeClr val="bg1"/>
              </a:solidFill>
            </a:endParaRPr>
          </a:p>
        </p:txBody>
      </p:sp>
      <p:pic>
        <p:nvPicPr>
          <p:cNvPr id="19460" name="Picture 4" descr="https://enthink.com/-/media/Images/Content/Campaigns/RPA/hybridRobot_icon/hybridRobot_icon_141x156.ashx?h=156&amp;w=141&amp;hash=AF9EAE7EA1748BB02EAA3E751A1EAC2C1A04F88A&amp;la=e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6097" y="1174383"/>
            <a:ext cx="2687677" cy="297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4956202" y="737667"/>
            <a:ext cx="3702023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PH" dirty="0" smtClean="0">
                <a:solidFill>
                  <a:srgbClr val="FFFFFF"/>
                </a:solidFill>
              </a:rPr>
              <a:t>Pro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dirty="0" smtClean="0">
                <a:solidFill>
                  <a:srgbClr val="FFFFFF"/>
                </a:solidFill>
              </a:rPr>
              <a:t>Cheaper</a:t>
            </a:r>
          </a:p>
          <a:p>
            <a:r>
              <a:rPr lang="en-PH" dirty="0" smtClean="0">
                <a:solidFill>
                  <a:srgbClr val="FFFFFF"/>
                </a:solidFill>
              </a:rPr>
              <a:t>Con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dirty="0" smtClean="0">
                <a:solidFill>
                  <a:srgbClr val="FFFFFF"/>
                </a:solidFill>
              </a:rPr>
              <a:t>Needs human interven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dirty="0" smtClean="0">
                <a:solidFill>
                  <a:srgbClr val="FFFFFF"/>
                </a:solidFill>
              </a:rPr>
              <a:t>Cannot be scheduled</a:t>
            </a:r>
          </a:p>
          <a:p>
            <a:r>
              <a:rPr lang="en-PH" dirty="0" smtClean="0">
                <a:solidFill>
                  <a:srgbClr val="FFFFFF"/>
                </a:solidFill>
              </a:rPr>
              <a:t>When to Us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dirty="0" smtClean="0">
                <a:solidFill>
                  <a:srgbClr val="FFFFFF"/>
                </a:solidFill>
              </a:rPr>
              <a:t>Processes that have human approval checkpoi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dirty="0" smtClean="0">
                <a:solidFill>
                  <a:srgbClr val="FFFFFF"/>
                </a:solidFill>
              </a:rPr>
              <a:t>Tools for customer </a:t>
            </a:r>
            <a:r>
              <a:rPr lang="en-PH" dirty="0">
                <a:solidFill>
                  <a:srgbClr val="FFFFFF"/>
                </a:solidFill>
              </a:rPr>
              <a:t>support</a:t>
            </a:r>
            <a:endParaRPr lang="en-PH" dirty="0" smtClean="0">
              <a:solidFill>
                <a:srgbClr val="FFFFFF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dirty="0" smtClean="0">
                <a:solidFill>
                  <a:srgbClr val="FFFFFF"/>
                </a:solidFill>
              </a:rPr>
              <a:t>Task specific autom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PH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6900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" name="Google Shape;276;p3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IN" dirty="0" smtClean="0">
                <a:solidFill>
                  <a:schemeClr val="bg1"/>
                </a:solidFill>
              </a:rPr>
              <a:t>Unattended Robots</a:t>
            </a:r>
            <a:endParaRPr dirty="0">
              <a:solidFill>
                <a:schemeClr val="bg1"/>
              </a:solidFill>
            </a:endParaRPr>
          </a:p>
        </p:txBody>
      </p:sp>
      <p:pic>
        <p:nvPicPr>
          <p:cNvPr id="19458" name="Picture 2" descr="https://enthink.com/-/media/Images/Icons/attendedRobot_icon_141x156.ashx?la=en&amp;hash=491BE3AE93E141379AA51B4E55882C2D9C1F0CD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5440" y="1174560"/>
            <a:ext cx="2687517" cy="29734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906734" y="737667"/>
            <a:ext cx="3702023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PH" dirty="0" smtClean="0">
                <a:solidFill>
                  <a:srgbClr val="FFFFFF"/>
                </a:solidFill>
              </a:rPr>
              <a:t>Pro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dirty="0" smtClean="0">
                <a:solidFill>
                  <a:srgbClr val="FFFFFF"/>
                </a:solidFill>
              </a:rPr>
              <a:t>Able to run on a 24x7x365 ba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dirty="0" smtClean="0">
                <a:solidFill>
                  <a:srgbClr val="FFFFFF"/>
                </a:solidFill>
              </a:rPr>
              <a:t>Real time monito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dirty="0" smtClean="0">
                <a:solidFill>
                  <a:srgbClr val="FFFFFF"/>
                </a:solidFill>
              </a:rPr>
              <a:t>Self-triggered (time based/ event based)</a:t>
            </a:r>
          </a:p>
          <a:p>
            <a:r>
              <a:rPr lang="en-PH" dirty="0" smtClean="0">
                <a:solidFill>
                  <a:srgbClr val="FFFFFF"/>
                </a:solidFill>
              </a:rPr>
              <a:t>Con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dirty="0" smtClean="0">
                <a:solidFill>
                  <a:srgbClr val="FFFFFF"/>
                </a:solidFill>
              </a:rPr>
              <a:t>More expensive</a:t>
            </a:r>
          </a:p>
          <a:p>
            <a:r>
              <a:rPr lang="en-PH" dirty="0" smtClean="0">
                <a:solidFill>
                  <a:srgbClr val="FFFFFF"/>
                </a:solidFill>
              </a:rPr>
              <a:t>When to us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dirty="0" smtClean="0">
                <a:solidFill>
                  <a:srgbClr val="FFFFFF"/>
                </a:solidFill>
              </a:rPr>
              <a:t>Continuous process that does not have human check poi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dirty="0" smtClean="0">
                <a:solidFill>
                  <a:srgbClr val="FFFFFF"/>
                </a:solidFill>
              </a:rPr>
              <a:t>Heavy back office activ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dirty="0" smtClean="0">
                <a:solidFill>
                  <a:srgbClr val="FFFFFF"/>
                </a:solidFill>
              </a:rPr>
              <a:t>End to end process automation</a:t>
            </a:r>
          </a:p>
        </p:txBody>
      </p:sp>
    </p:spTree>
    <p:extLst>
      <p:ext uri="{BB962C8B-B14F-4D97-AF65-F5344CB8AC3E}">
        <p14:creationId xmlns:p14="http://schemas.microsoft.com/office/powerpoint/2010/main" val="545080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" name="Google Shape;276;p3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IN" dirty="0" smtClean="0">
                <a:solidFill>
                  <a:schemeClr val="bg1"/>
                </a:solidFill>
              </a:rPr>
              <a:t>Choosing the Type of Licenses</a:t>
            </a:r>
            <a:endParaRPr dirty="0">
              <a:solidFill>
                <a:schemeClr val="bg1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792" y="845245"/>
            <a:ext cx="5522082" cy="369357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3306065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" name="Google Shape;276;p3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IN" dirty="0" smtClean="0">
                <a:solidFill>
                  <a:schemeClr val="bg1"/>
                </a:solidFill>
              </a:rPr>
              <a:t>Number of Licenses</a:t>
            </a:r>
            <a:endParaRPr dirty="0">
              <a:solidFill>
                <a:schemeClr val="bg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Rectangle 6"/>
              <p:cNvSpPr/>
              <p:nvPr/>
            </p:nvSpPr>
            <p:spPr>
              <a:xfrm>
                <a:off x="950606" y="4112125"/>
                <a:ext cx="4717958" cy="50000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PH" smtClean="0">
                          <a:solidFill>
                            <a:srgbClr val="FFFFFF"/>
                          </a:solidFill>
                          <a:latin typeface="Cambria Math" panose="02040503050406030204" pitchFamily="18" charset="0"/>
                        </a:rPr>
                        <m:t>Number</m:t>
                      </m:r>
                      <m:r>
                        <a:rPr lang="en-PH" smtClean="0">
                          <a:solidFill>
                            <a:srgbClr val="FFFFFF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PH" smtClean="0">
                          <a:solidFill>
                            <a:srgbClr val="FFFFFF"/>
                          </a:solidFill>
                          <a:latin typeface="Cambria Math" panose="02040503050406030204" pitchFamily="18" charset="0"/>
                        </a:rPr>
                        <m:t>of</m:t>
                      </m:r>
                      <m:r>
                        <a:rPr lang="en-PH" smtClean="0">
                          <a:solidFill>
                            <a:srgbClr val="FFFFFF"/>
                          </a:solidFill>
                          <a:latin typeface="Cambria Math" panose="02040503050406030204" pitchFamily="18" charset="0"/>
                        </a:rPr>
                        <m:t>  </m:t>
                      </m:r>
                      <m:r>
                        <m:rPr>
                          <m:sty m:val="p"/>
                        </m:rPr>
                        <a:rPr lang="en-PH" b="0" i="0" smtClean="0">
                          <a:solidFill>
                            <a:srgbClr val="FFFFFF"/>
                          </a:solidFill>
                          <a:latin typeface="Cambria Math" panose="02040503050406030204" pitchFamily="18" charset="0"/>
                        </a:rPr>
                        <m:t>Robot</m:t>
                      </m:r>
                      <m:r>
                        <a:rPr lang="en-PH" b="0" i="0" smtClean="0">
                          <a:solidFill>
                            <a:srgbClr val="FFFFFF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PH" smtClean="0">
                          <a:solidFill>
                            <a:srgbClr val="FFFFFF"/>
                          </a:solidFill>
                          <a:latin typeface="Cambria Math" panose="02040503050406030204" pitchFamily="18" charset="0"/>
                        </a:rPr>
                        <m:t>Licenses</m:t>
                      </m:r>
                      <m:r>
                        <a:rPr lang="en-PH" smtClean="0">
                          <a:solidFill>
                            <a:srgbClr val="FFFFFF"/>
                          </a:solidFill>
                          <a:latin typeface="Cambria Math" panose="02040503050406030204" pitchFamily="18" charset="0"/>
                        </a:rPr>
                        <m:t> = </m:t>
                      </m:r>
                      <m:f>
                        <m:fPr>
                          <m:ctrlPr>
                            <a:rPr lang="en-PH" i="1">
                              <a:solidFill>
                                <a:srgbClr val="FFFFFF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en-PH">
                              <a:solidFill>
                                <a:srgbClr val="FFFFFF"/>
                              </a:solidFill>
                              <a:latin typeface="Cambria Math" panose="02040503050406030204" pitchFamily="18" charset="0"/>
                            </a:rPr>
                            <m:t>FTE</m:t>
                          </m:r>
                          <m:r>
                            <a:rPr lang="en-PH">
                              <a:solidFill>
                                <a:srgbClr val="FFFFFF"/>
                              </a:solidFill>
                              <a:latin typeface="Cambria Math" panose="02040503050406030204" pitchFamily="18" charset="0"/>
                            </a:rPr>
                            <m:t> × </m:t>
                          </m:r>
                          <m:r>
                            <m:rPr>
                              <m:sty m:val="p"/>
                            </m:rPr>
                            <a:rPr lang="en-PH">
                              <a:solidFill>
                                <a:srgbClr val="FFFFFF"/>
                              </a:solidFill>
                              <a:latin typeface="Cambria Math" panose="02040503050406030204" pitchFamily="18" charset="0"/>
                            </a:rPr>
                            <m:t>Work</m:t>
                          </m:r>
                          <m:r>
                            <a:rPr lang="en-PH">
                              <a:solidFill>
                                <a:srgbClr val="FFFFFF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PH">
                              <a:solidFill>
                                <a:srgbClr val="FFFFFF"/>
                              </a:solidFill>
                              <a:latin typeface="Cambria Math" panose="02040503050406030204" pitchFamily="18" charset="0"/>
                            </a:rPr>
                            <m:t>Hours</m:t>
                          </m:r>
                          <m:r>
                            <a:rPr lang="en-PH">
                              <a:solidFill>
                                <a:srgbClr val="FFFFFF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PH">
                              <a:solidFill>
                                <a:srgbClr val="FFFFFF"/>
                              </a:solidFill>
                              <a:latin typeface="Cambria Math" panose="02040503050406030204" pitchFamily="18" charset="0"/>
                            </a:rPr>
                            <m:t>per</m:t>
                          </m:r>
                          <m:r>
                            <a:rPr lang="en-PH">
                              <a:solidFill>
                                <a:srgbClr val="FFFFFF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PH">
                              <a:solidFill>
                                <a:srgbClr val="FFFFFF"/>
                              </a:solidFill>
                              <a:latin typeface="Cambria Math" panose="02040503050406030204" pitchFamily="18" charset="0"/>
                            </a:rPr>
                            <m:t>Day</m:t>
                          </m:r>
                        </m:num>
                        <m:den>
                          <m:r>
                            <a:rPr lang="en-PH">
                              <a:solidFill>
                                <a:srgbClr val="FFFFFF"/>
                              </a:solidFill>
                              <a:latin typeface="Cambria Math" panose="02040503050406030204" pitchFamily="18" charset="0"/>
                            </a:rPr>
                            <m:t>24</m:t>
                          </m:r>
                        </m:den>
                      </m:f>
                    </m:oMath>
                  </m:oMathPara>
                </a14:m>
                <a:endParaRPr lang="en-PH" dirty="0">
                  <a:solidFill>
                    <a:srgbClr val="FFFFFF"/>
                  </a:solidFill>
                </a:endParaRPr>
              </a:p>
            </p:txBody>
          </p:sp>
        </mc:Choice>
        <mc:Fallback xmlns="">
          <p:sp>
            <p:nvSpPr>
              <p:cNvPr id="7" name="Rectangle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0606" y="4112125"/>
                <a:ext cx="4717958" cy="500009"/>
              </a:xfrm>
              <a:prstGeom prst="rect">
                <a:avLst/>
              </a:prstGeom>
              <a:blipFill rotWithShape="0">
                <a:blip r:embed="rId3"/>
                <a:stretch>
                  <a:fillRect b="-1220"/>
                </a:stretch>
              </a:blipFill>
            </p:spPr>
            <p:txBody>
              <a:bodyPr/>
              <a:lstStyle/>
              <a:p>
                <a:r>
                  <a:rPr lang="en-PH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0482" name="Picture 2" descr="https://encrypted-tbn0.gstatic.com/images?q=tbn%3AANd9GcQdepLXRO-17jvuHJkb2Q0WnJKfTqbTUubqCuSTdE2wzHVawHib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7816" y="1042088"/>
            <a:ext cx="214312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84" name="Picture 4" descr="https://upload.wikimedia.org/wikipedia/commons/3/38/Robot-clip-art-book-covers-feJCV3-clipart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5681" y="439814"/>
            <a:ext cx="2727804" cy="3241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Equal 1"/>
          <p:cNvSpPr/>
          <p:nvPr/>
        </p:nvSpPr>
        <p:spPr>
          <a:xfrm>
            <a:off x="4057171" y="1990165"/>
            <a:ext cx="560934" cy="514831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2924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0" name="Google Shape;224;p28"/>
          <p:cNvCxnSpPr/>
          <p:nvPr/>
        </p:nvCxnSpPr>
        <p:spPr>
          <a:xfrm rot="10800000" flipH="1">
            <a:off x="4611935" y="4179095"/>
            <a:ext cx="3362325" cy="11169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69" name="Google Shape;215;p28"/>
          <p:cNvSpPr/>
          <p:nvPr/>
        </p:nvSpPr>
        <p:spPr>
          <a:xfrm>
            <a:off x="4611935" y="695325"/>
            <a:ext cx="3362325" cy="3752850"/>
          </a:xfrm>
          <a:prstGeom prst="roundRect">
            <a:avLst>
              <a:gd name="adj" fmla="val 3204"/>
            </a:avLst>
          </a:prstGeom>
          <a:solidFill>
            <a:schemeClr val="lt2"/>
          </a:solidFill>
          <a:ln>
            <a:noFill/>
          </a:ln>
          <a:effectLst>
            <a:outerShdw blurRad="241300" dist="127000" dir="4800000" algn="t" rotWithShape="0">
              <a:srgbClr val="000000">
                <a:alpha val="23921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1" name="Google Shape;222;p28"/>
          <p:cNvSpPr/>
          <p:nvPr/>
        </p:nvSpPr>
        <p:spPr>
          <a:xfrm flipH="1">
            <a:off x="4737502" y="1496198"/>
            <a:ext cx="274320" cy="274320"/>
          </a:xfrm>
          <a:prstGeom prst="ellipse">
            <a:avLst/>
          </a:prstGeom>
          <a:solidFill>
            <a:schemeClr val="lt2"/>
          </a:solidFill>
          <a:ln w="38100" cap="flat" cmpd="sng">
            <a:solidFill>
              <a:schemeClr val="accent1">
                <a:lumMod val="60000"/>
                <a:lumOff val="40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" name="Google Shape;223;p28"/>
          <p:cNvSpPr/>
          <p:nvPr/>
        </p:nvSpPr>
        <p:spPr>
          <a:xfrm flipH="1">
            <a:off x="4737502" y="3743720"/>
            <a:ext cx="274320" cy="274320"/>
          </a:xfrm>
          <a:prstGeom prst="ellipse">
            <a:avLst/>
          </a:prstGeom>
          <a:solidFill>
            <a:schemeClr val="lt2"/>
          </a:solidFill>
          <a:ln w="38100" cap="flat" cmpd="sng">
            <a:solidFill>
              <a:schemeClr val="accent1">
                <a:lumMod val="60000"/>
                <a:lumOff val="40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416" name="Google Shape;416;p29"/>
          <p:cNvGrpSpPr/>
          <p:nvPr/>
        </p:nvGrpSpPr>
        <p:grpSpPr>
          <a:xfrm>
            <a:off x="1169740" y="695325"/>
            <a:ext cx="3362325" cy="3752850"/>
            <a:chOff x="1333500" y="647700"/>
            <a:chExt cx="4483100" cy="5003800"/>
          </a:xfrm>
        </p:grpSpPr>
        <p:sp>
          <p:nvSpPr>
            <p:cNvPr id="417" name="Google Shape;417;p29"/>
            <p:cNvSpPr/>
            <p:nvPr/>
          </p:nvSpPr>
          <p:spPr>
            <a:xfrm>
              <a:off x="1333500" y="647700"/>
              <a:ext cx="4483100" cy="5003800"/>
            </a:xfrm>
            <a:prstGeom prst="roundRect">
              <a:avLst>
                <a:gd name="adj" fmla="val 3204"/>
              </a:avLst>
            </a:prstGeom>
            <a:solidFill>
              <a:schemeClr val="lt2"/>
            </a:solidFill>
            <a:ln>
              <a:noFill/>
            </a:ln>
            <a:effectLst>
              <a:outerShdw blurRad="241300" dist="127000" dir="4800000" algn="t" rotWithShape="0">
                <a:srgbClr val="000000">
                  <a:alpha val="23921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8" name="Google Shape;418;p29"/>
            <p:cNvSpPr/>
            <p:nvPr/>
          </p:nvSpPr>
          <p:spPr>
            <a:xfrm>
              <a:off x="1333500" y="2844798"/>
              <a:ext cx="4483100" cy="110392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r>
                <a:rPr lang="en-US" sz="2400">
                  <a:solidFill>
                    <a:schemeClr val="lt1"/>
                  </a:solidFill>
                </a:rPr>
                <a:t>   </a:t>
              </a: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419" name="Google Shape;419;p29"/>
            <p:cNvCxnSpPr/>
            <p:nvPr/>
          </p:nvCxnSpPr>
          <p:spPr>
            <a:xfrm rot="10800000" flipH="1">
              <a:off x="1333500" y="5292727"/>
              <a:ext cx="4483100" cy="14892"/>
            </a:xfrm>
            <a:prstGeom prst="straightConnector1">
              <a:avLst/>
            </a:prstGeom>
            <a:noFill/>
            <a:ln w="9525" cap="flat" cmpd="sng">
              <a:solidFill>
                <a:schemeClr val="accent4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grpSp>
          <p:nvGrpSpPr>
            <p:cNvPr id="421" name="Google Shape;421;p29"/>
            <p:cNvGrpSpPr/>
            <p:nvPr/>
          </p:nvGrpSpPr>
          <p:grpSpPr>
            <a:xfrm>
              <a:off x="1838108" y="3060476"/>
              <a:ext cx="3559265" cy="717960"/>
              <a:chOff x="1689099" y="3060476"/>
              <a:chExt cx="3559265" cy="717960"/>
            </a:xfrm>
          </p:grpSpPr>
          <p:sp>
            <p:nvSpPr>
              <p:cNvPr id="422" name="Google Shape;422;p29"/>
              <p:cNvSpPr/>
              <p:nvPr/>
            </p:nvSpPr>
            <p:spPr>
              <a:xfrm>
                <a:off x="1689099" y="3060476"/>
                <a:ext cx="774701" cy="70788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pPr algn="ctr"/>
                <a:r>
                  <a:rPr lang="en-US" sz="3000">
                    <a:solidFill>
                      <a:schemeClr val="lt2"/>
                    </a:solidFill>
                  </a:rPr>
                  <a:t>05</a:t>
                </a:r>
                <a:endParaRPr sz="1050"/>
              </a:p>
            </p:txBody>
          </p:sp>
          <p:cxnSp>
            <p:nvCxnSpPr>
              <p:cNvPr id="423" name="Google Shape;423;p29"/>
              <p:cNvCxnSpPr/>
              <p:nvPr/>
            </p:nvCxnSpPr>
            <p:spPr>
              <a:xfrm>
                <a:off x="2476500" y="3104371"/>
                <a:ext cx="0" cy="584775"/>
              </a:xfrm>
              <a:prstGeom prst="straightConnector1">
                <a:avLst/>
              </a:prstGeom>
              <a:noFill/>
              <a:ln w="28575" cap="flat" cmpd="sng">
                <a:solidFill>
                  <a:schemeClr val="lt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424" name="Google Shape;424;p29"/>
              <p:cNvSpPr/>
              <p:nvPr/>
            </p:nvSpPr>
            <p:spPr>
              <a:xfrm>
                <a:off x="2541764" y="3132237"/>
                <a:ext cx="2706600" cy="6461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r>
                  <a:rPr lang="en-US" sz="2000" dirty="0" smtClean="0">
                    <a:solidFill>
                      <a:schemeClr val="lt1"/>
                    </a:solidFill>
                  </a:rPr>
                  <a:t>ERRORS</a:t>
                </a:r>
                <a:endParaRPr lang="en-US" sz="2000" dirty="0"/>
              </a:p>
              <a:p>
                <a:endParaRPr sz="2000" dirty="0"/>
              </a:p>
            </p:txBody>
          </p:sp>
        </p:grpSp>
        <p:sp>
          <p:nvSpPr>
            <p:cNvPr id="425" name="Google Shape;425;p29"/>
            <p:cNvSpPr/>
            <p:nvPr/>
          </p:nvSpPr>
          <p:spPr>
            <a:xfrm>
              <a:off x="5296500" y="1715530"/>
              <a:ext cx="365760" cy="365760"/>
            </a:xfrm>
            <a:prstGeom prst="ellipse">
              <a:avLst/>
            </a:prstGeom>
            <a:solidFill>
              <a:schemeClr val="lt2"/>
            </a:solidFill>
            <a:ln w="38100" cap="flat" cmpd="sng">
              <a:solidFill>
                <a:srgbClr val="7030A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6" name="Google Shape;426;p29"/>
            <p:cNvSpPr/>
            <p:nvPr/>
          </p:nvSpPr>
          <p:spPr>
            <a:xfrm>
              <a:off x="5296500" y="4712227"/>
              <a:ext cx="365760" cy="365760"/>
            </a:xfrm>
            <a:prstGeom prst="ellipse">
              <a:avLst/>
            </a:prstGeom>
            <a:solidFill>
              <a:schemeClr val="lt2"/>
            </a:solidFill>
            <a:ln w="38100" cap="flat" cmpd="sng">
              <a:solidFill>
                <a:srgbClr val="7030A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38" name="Google Shape;438;p29"/>
          <p:cNvSpPr/>
          <p:nvPr/>
        </p:nvSpPr>
        <p:spPr>
          <a:xfrm>
            <a:off x="4259158" y="1547490"/>
            <a:ext cx="617220" cy="17145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BFBFBF"/>
              </a:gs>
              <a:gs pos="16000">
                <a:srgbClr val="BFBFBF"/>
              </a:gs>
              <a:gs pos="50000">
                <a:schemeClr val="lt1"/>
              </a:gs>
              <a:gs pos="84000">
                <a:srgbClr val="BFBFBF"/>
              </a:gs>
              <a:gs pos="100000">
                <a:srgbClr val="BFBFBF"/>
              </a:gs>
            </a:gsLst>
            <a:lin ang="0" scaled="0"/>
          </a:gra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9" name="Google Shape;439;p29"/>
          <p:cNvSpPr/>
          <p:nvPr/>
        </p:nvSpPr>
        <p:spPr>
          <a:xfrm>
            <a:off x="4259158" y="3803276"/>
            <a:ext cx="617220" cy="17145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BFBFBF"/>
              </a:gs>
              <a:gs pos="16000">
                <a:srgbClr val="BFBFBF"/>
              </a:gs>
              <a:gs pos="50000">
                <a:schemeClr val="lt1"/>
              </a:gs>
              <a:gs pos="84000">
                <a:srgbClr val="BFBFBF"/>
              </a:gs>
              <a:gs pos="100000">
                <a:srgbClr val="BFBFBF"/>
              </a:gs>
            </a:gsLst>
            <a:lin ang="0" scaled="0"/>
          </a:gra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9" name="Google Shape;177;p27"/>
          <p:cNvSpPr/>
          <p:nvPr/>
        </p:nvSpPr>
        <p:spPr>
          <a:xfrm>
            <a:off x="1345531" y="3214266"/>
            <a:ext cx="2733675" cy="692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algn="just"/>
            <a:endParaRPr lang="en-US" sz="1200" dirty="0" smtClean="0">
              <a:solidFill>
                <a:srgbClr val="595959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4073236" y="124687"/>
            <a:ext cx="1246909" cy="259773"/>
          </a:xfrm>
          <a:prstGeom prst="rect">
            <a:avLst/>
          </a:prstGeom>
          <a:solidFill>
            <a:srgbClr val="000000">
              <a:lumMod val="50000"/>
              <a:lumOff val="5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COVERY</a:t>
            </a:r>
          </a:p>
        </p:txBody>
      </p:sp>
      <p:sp>
        <p:nvSpPr>
          <p:cNvPr id="37" name="Rectangle 36"/>
          <p:cNvSpPr/>
          <p:nvPr/>
        </p:nvSpPr>
        <p:spPr>
          <a:xfrm>
            <a:off x="6567054" y="120997"/>
            <a:ext cx="1246909" cy="259773"/>
          </a:xfrm>
          <a:prstGeom prst="rect">
            <a:avLst/>
          </a:prstGeom>
          <a:solidFill>
            <a:srgbClr val="000000">
              <a:lumMod val="50000"/>
              <a:lumOff val="5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LEMENTATION</a:t>
            </a:r>
          </a:p>
        </p:txBody>
      </p:sp>
      <p:sp>
        <p:nvSpPr>
          <p:cNvPr id="38" name="Rectangle 37"/>
          <p:cNvSpPr/>
          <p:nvPr/>
        </p:nvSpPr>
        <p:spPr>
          <a:xfrm>
            <a:off x="7813963" y="120997"/>
            <a:ext cx="1246909" cy="259773"/>
          </a:xfrm>
          <a:prstGeom prst="rect">
            <a:avLst/>
          </a:prstGeom>
          <a:solidFill>
            <a:srgbClr val="000000">
              <a:lumMod val="50000"/>
              <a:lumOff val="5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ERATIONS</a:t>
            </a:r>
          </a:p>
        </p:txBody>
      </p:sp>
      <p:sp>
        <p:nvSpPr>
          <p:cNvPr id="39" name="Rectangle 38"/>
          <p:cNvSpPr/>
          <p:nvPr/>
        </p:nvSpPr>
        <p:spPr>
          <a:xfrm>
            <a:off x="5320145" y="122842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OLUTIONING</a:t>
            </a:r>
            <a:endParaRPr lang="en-US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2826327" y="122842"/>
            <a:ext cx="1246909" cy="259773"/>
          </a:xfrm>
          <a:prstGeom prst="rect">
            <a:avLst/>
          </a:prstGeom>
          <a:solidFill>
            <a:srgbClr val="FF0000">
              <a:lumMod val="60000"/>
              <a:lumOff val="4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EATION</a:t>
            </a:r>
          </a:p>
        </p:txBody>
      </p:sp>
      <p:sp>
        <p:nvSpPr>
          <p:cNvPr id="41" name="Google Shape;177;p27"/>
          <p:cNvSpPr/>
          <p:nvPr/>
        </p:nvSpPr>
        <p:spPr>
          <a:xfrm>
            <a:off x="1328445" y="1424269"/>
            <a:ext cx="2733675" cy="692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algn="ctr"/>
            <a:r>
              <a:rPr lang="en-PH" sz="1300" dirty="0" smtClean="0"/>
              <a:t>MEASURES OF THE PROCESS</a:t>
            </a:r>
            <a:endParaRPr lang="en-PH" sz="1300" dirty="0"/>
          </a:p>
        </p:txBody>
      </p:sp>
      <p:sp>
        <p:nvSpPr>
          <p:cNvPr id="43" name="Google Shape;177;p27"/>
          <p:cNvSpPr/>
          <p:nvPr/>
        </p:nvSpPr>
        <p:spPr>
          <a:xfrm>
            <a:off x="1328445" y="3283797"/>
            <a:ext cx="2733675" cy="692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sz="800" dirty="0" smtClean="0"/>
              <a:t>ERROR VOLU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sz="800" dirty="0" smtClean="0"/>
              <a:t>ERROR PERCENT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sz="800" dirty="0" smtClean="0"/>
              <a:t>ERROR HANDLING</a:t>
            </a:r>
            <a:endParaRPr lang="en-PH" sz="800" dirty="0"/>
          </a:p>
        </p:txBody>
      </p:sp>
      <p:sp>
        <p:nvSpPr>
          <p:cNvPr id="31" name="Google Shape;59;p14"/>
          <p:cNvSpPr txBox="1">
            <a:spLocks/>
          </p:cNvSpPr>
          <p:nvPr/>
        </p:nvSpPr>
        <p:spPr>
          <a:xfrm>
            <a:off x="2004" y="4575074"/>
            <a:ext cx="9141995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800" b="1" dirty="0" smtClean="0">
                <a:solidFill>
                  <a:schemeClr val="bg1"/>
                </a:solidFill>
              </a:rPr>
              <a:t>BASIC INFORMATION FOR PROCESS SELECTION</a:t>
            </a:r>
            <a:endParaRPr lang="en-US" sz="2800" b="1" dirty="0">
              <a:solidFill>
                <a:schemeClr val="bg1"/>
              </a:solidFill>
            </a:endParaRPr>
          </a:p>
        </p:txBody>
      </p:sp>
      <p:cxnSp>
        <p:nvCxnSpPr>
          <p:cNvPr id="35" name="Google Shape;224;p28"/>
          <p:cNvCxnSpPr/>
          <p:nvPr/>
        </p:nvCxnSpPr>
        <p:spPr>
          <a:xfrm rot="10800000" flipH="1">
            <a:off x="4611935" y="4155961"/>
            <a:ext cx="3362325" cy="11169"/>
          </a:xfrm>
          <a:prstGeom prst="straightConnector1">
            <a:avLst/>
          </a:prstGeom>
          <a:noFill/>
          <a:ln w="9525" cap="flat" cmpd="sng">
            <a:solidFill>
              <a:schemeClr val="accent1">
                <a:lumMod val="60000"/>
                <a:lumOff val="40000"/>
              </a:schemeClr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42" name="Google Shape;216;p28"/>
          <p:cNvSpPr/>
          <p:nvPr/>
        </p:nvSpPr>
        <p:spPr>
          <a:xfrm>
            <a:off x="4611935" y="2343149"/>
            <a:ext cx="3362325" cy="82794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r>
              <a:rPr lang="en-US" sz="2400" dirty="0">
                <a:solidFill>
                  <a:schemeClr val="lt1"/>
                </a:solidFill>
              </a:rPr>
              <a:t>   </a:t>
            </a:r>
            <a:r>
              <a:rPr lang="en-US" sz="2400" dirty="0" smtClean="0">
                <a:solidFill>
                  <a:schemeClr val="lt1"/>
                </a:solidFill>
              </a:rPr>
              <a:t>END</a:t>
            </a:r>
            <a:endParaRPr sz="24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" name="Google Shape;174;p27"/>
          <p:cNvSpPr/>
          <p:nvPr/>
        </p:nvSpPr>
        <p:spPr>
          <a:xfrm>
            <a:off x="4611935" y="699015"/>
            <a:ext cx="3362325" cy="3752850"/>
          </a:xfrm>
          <a:prstGeom prst="roundRect">
            <a:avLst>
              <a:gd name="adj" fmla="val 3204"/>
            </a:avLst>
          </a:prstGeom>
          <a:solidFill>
            <a:srgbClr val="D9D9D9">
              <a:alpha val="70980"/>
            </a:srgbClr>
          </a:solidFill>
          <a:ln>
            <a:noFill/>
          </a:ln>
          <a:effectLst>
            <a:outerShdw blurRad="241300" dist="127000" dir="4800000" algn="t" rotWithShape="0">
              <a:srgbClr val="000000">
                <a:alpha val="23921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90952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0" name="Google Shape;224;p28"/>
          <p:cNvCxnSpPr/>
          <p:nvPr/>
        </p:nvCxnSpPr>
        <p:spPr>
          <a:xfrm rot="10800000" flipH="1">
            <a:off x="4611935" y="4179095"/>
            <a:ext cx="3362325" cy="11169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69" name="Google Shape;215;p28"/>
          <p:cNvSpPr/>
          <p:nvPr/>
        </p:nvSpPr>
        <p:spPr>
          <a:xfrm>
            <a:off x="4611935" y="695325"/>
            <a:ext cx="3362325" cy="3752850"/>
          </a:xfrm>
          <a:prstGeom prst="roundRect">
            <a:avLst>
              <a:gd name="adj" fmla="val 3204"/>
            </a:avLst>
          </a:prstGeom>
          <a:solidFill>
            <a:schemeClr val="lt2"/>
          </a:solidFill>
          <a:ln>
            <a:noFill/>
          </a:ln>
          <a:effectLst>
            <a:outerShdw blurRad="241300" dist="127000" dir="4800000" algn="t" rotWithShape="0">
              <a:srgbClr val="000000">
                <a:alpha val="23921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1" name="Google Shape;222;p28"/>
          <p:cNvSpPr/>
          <p:nvPr/>
        </p:nvSpPr>
        <p:spPr>
          <a:xfrm flipH="1">
            <a:off x="4737502" y="1496198"/>
            <a:ext cx="274320" cy="274320"/>
          </a:xfrm>
          <a:prstGeom prst="ellipse">
            <a:avLst/>
          </a:prstGeom>
          <a:solidFill>
            <a:schemeClr val="lt2"/>
          </a:solidFill>
          <a:ln w="38100" cap="flat" cmpd="sng">
            <a:solidFill>
              <a:schemeClr val="accent1">
                <a:lumMod val="60000"/>
                <a:lumOff val="40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" name="Google Shape;223;p28"/>
          <p:cNvSpPr/>
          <p:nvPr/>
        </p:nvSpPr>
        <p:spPr>
          <a:xfrm flipH="1">
            <a:off x="4737502" y="3743720"/>
            <a:ext cx="274320" cy="274320"/>
          </a:xfrm>
          <a:prstGeom prst="ellipse">
            <a:avLst/>
          </a:prstGeom>
          <a:solidFill>
            <a:schemeClr val="lt2"/>
          </a:solidFill>
          <a:ln w="38100" cap="flat" cmpd="sng">
            <a:solidFill>
              <a:schemeClr val="accent1">
                <a:lumMod val="60000"/>
                <a:lumOff val="40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416" name="Google Shape;416;p29"/>
          <p:cNvGrpSpPr/>
          <p:nvPr/>
        </p:nvGrpSpPr>
        <p:grpSpPr>
          <a:xfrm>
            <a:off x="1169740" y="695325"/>
            <a:ext cx="3362325" cy="3752850"/>
            <a:chOff x="1333500" y="647700"/>
            <a:chExt cx="4483100" cy="5003800"/>
          </a:xfrm>
        </p:grpSpPr>
        <p:sp>
          <p:nvSpPr>
            <p:cNvPr id="417" name="Google Shape;417;p29"/>
            <p:cNvSpPr/>
            <p:nvPr/>
          </p:nvSpPr>
          <p:spPr>
            <a:xfrm>
              <a:off x="1333500" y="647700"/>
              <a:ext cx="4483100" cy="5003800"/>
            </a:xfrm>
            <a:prstGeom prst="roundRect">
              <a:avLst>
                <a:gd name="adj" fmla="val 3204"/>
              </a:avLst>
            </a:prstGeom>
            <a:solidFill>
              <a:schemeClr val="lt2"/>
            </a:solidFill>
            <a:ln>
              <a:noFill/>
            </a:ln>
            <a:effectLst>
              <a:outerShdw blurRad="241300" dist="127000" dir="4800000" algn="t" rotWithShape="0">
                <a:srgbClr val="000000">
                  <a:alpha val="23921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8" name="Google Shape;418;p29"/>
            <p:cNvSpPr/>
            <p:nvPr/>
          </p:nvSpPr>
          <p:spPr>
            <a:xfrm>
              <a:off x="1333500" y="2844798"/>
              <a:ext cx="4483100" cy="110392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r>
                <a:rPr lang="en-US" sz="2400">
                  <a:solidFill>
                    <a:schemeClr val="lt1"/>
                  </a:solidFill>
                </a:rPr>
                <a:t>   </a:t>
              </a: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419" name="Google Shape;419;p29"/>
            <p:cNvCxnSpPr/>
            <p:nvPr/>
          </p:nvCxnSpPr>
          <p:spPr>
            <a:xfrm rot="10800000" flipH="1">
              <a:off x="1333500" y="5292727"/>
              <a:ext cx="4483100" cy="14892"/>
            </a:xfrm>
            <a:prstGeom prst="straightConnector1">
              <a:avLst/>
            </a:prstGeom>
            <a:noFill/>
            <a:ln w="9525" cap="flat" cmpd="sng">
              <a:solidFill>
                <a:schemeClr val="accent4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grpSp>
          <p:nvGrpSpPr>
            <p:cNvPr id="421" name="Google Shape;421;p29"/>
            <p:cNvGrpSpPr/>
            <p:nvPr/>
          </p:nvGrpSpPr>
          <p:grpSpPr>
            <a:xfrm>
              <a:off x="1838108" y="3060476"/>
              <a:ext cx="3559265" cy="717960"/>
              <a:chOff x="1689099" y="3060476"/>
              <a:chExt cx="3559265" cy="717960"/>
            </a:xfrm>
          </p:grpSpPr>
          <p:sp>
            <p:nvSpPr>
              <p:cNvPr id="422" name="Google Shape;422;p29"/>
              <p:cNvSpPr/>
              <p:nvPr/>
            </p:nvSpPr>
            <p:spPr>
              <a:xfrm>
                <a:off x="1689099" y="3060476"/>
                <a:ext cx="774701" cy="70788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pPr algn="ctr"/>
                <a:r>
                  <a:rPr lang="en-US" sz="3000">
                    <a:solidFill>
                      <a:schemeClr val="lt2"/>
                    </a:solidFill>
                  </a:rPr>
                  <a:t>05</a:t>
                </a:r>
                <a:endParaRPr sz="1050"/>
              </a:p>
            </p:txBody>
          </p:sp>
          <p:cxnSp>
            <p:nvCxnSpPr>
              <p:cNvPr id="423" name="Google Shape;423;p29"/>
              <p:cNvCxnSpPr/>
              <p:nvPr/>
            </p:nvCxnSpPr>
            <p:spPr>
              <a:xfrm>
                <a:off x="2476500" y="3104371"/>
                <a:ext cx="0" cy="584775"/>
              </a:xfrm>
              <a:prstGeom prst="straightConnector1">
                <a:avLst/>
              </a:prstGeom>
              <a:noFill/>
              <a:ln w="28575" cap="flat" cmpd="sng">
                <a:solidFill>
                  <a:schemeClr val="lt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424" name="Google Shape;424;p29"/>
              <p:cNvSpPr/>
              <p:nvPr/>
            </p:nvSpPr>
            <p:spPr>
              <a:xfrm>
                <a:off x="2541764" y="3132237"/>
                <a:ext cx="2706600" cy="6461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r>
                  <a:rPr lang="en-US" sz="2000" dirty="0" smtClean="0">
                    <a:solidFill>
                      <a:schemeClr val="lt1"/>
                    </a:solidFill>
                  </a:rPr>
                  <a:t>ERRORS</a:t>
                </a:r>
                <a:endParaRPr lang="en-US" sz="2000" dirty="0"/>
              </a:p>
              <a:p>
                <a:endParaRPr sz="2000" dirty="0"/>
              </a:p>
            </p:txBody>
          </p:sp>
        </p:grpSp>
        <p:sp>
          <p:nvSpPr>
            <p:cNvPr id="425" name="Google Shape;425;p29"/>
            <p:cNvSpPr/>
            <p:nvPr/>
          </p:nvSpPr>
          <p:spPr>
            <a:xfrm>
              <a:off x="5296500" y="1715530"/>
              <a:ext cx="365760" cy="365760"/>
            </a:xfrm>
            <a:prstGeom prst="ellipse">
              <a:avLst/>
            </a:prstGeom>
            <a:solidFill>
              <a:schemeClr val="lt2"/>
            </a:solidFill>
            <a:ln w="38100" cap="flat" cmpd="sng">
              <a:solidFill>
                <a:srgbClr val="7030A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6" name="Google Shape;426;p29"/>
            <p:cNvSpPr/>
            <p:nvPr/>
          </p:nvSpPr>
          <p:spPr>
            <a:xfrm>
              <a:off x="5296500" y="4712227"/>
              <a:ext cx="365760" cy="365760"/>
            </a:xfrm>
            <a:prstGeom prst="ellipse">
              <a:avLst/>
            </a:prstGeom>
            <a:solidFill>
              <a:schemeClr val="lt2"/>
            </a:solidFill>
            <a:ln w="38100" cap="flat" cmpd="sng">
              <a:solidFill>
                <a:srgbClr val="7030A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38" name="Google Shape;438;p29"/>
          <p:cNvSpPr/>
          <p:nvPr/>
        </p:nvSpPr>
        <p:spPr>
          <a:xfrm>
            <a:off x="4259158" y="1547490"/>
            <a:ext cx="617220" cy="17145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BFBFBF"/>
              </a:gs>
              <a:gs pos="16000">
                <a:srgbClr val="BFBFBF"/>
              </a:gs>
              <a:gs pos="50000">
                <a:schemeClr val="lt1"/>
              </a:gs>
              <a:gs pos="84000">
                <a:srgbClr val="BFBFBF"/>
              </a:gs>
              <a:gs pos="100000">
                <a:srgbClr val="BFBFBF"/>
              </a:gs>
            </a:gsLst>
            <a:lin ang="0" scaled="0"/>
          </a:gra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9" name="Google Shape;439;p29"/>
          <p:cNvSpPr/>
          <p:nvPr/>
        </p:nvSpPr>
        <p:spPr>
          <a:xfrm>
            <a:off x="4259158" y="3803276"/>
            <a:ext cx="617220" cy="17145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BFBFBF"/>
              </a:gs>
              <a:gs pos="16000">
                <a:srgbClr val="BFBFBF"/>
              </a:gs>
              <a:gs pos="50000">
                <a:schemeClr val="lt1"/>
              </a:gs>
              <a:gs pos="84000">
                <a:srgbClr val="BFBFBF"/>
              </a:gs>
              <a:gs pos="100000">
                <a:srgbClr val="BFBFBF"/>
              </a:gs>
            </a:gsLst>
            <a:lin ang="0" scaled="0"/>
          </a:gra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9" name="Google Shape;177;p27"/>
          <p:cNvSpPr/>
          <p:nvPr/>
        </p:nvSpPr>
        <p:spPr>
          <a:xfrm>
            <a:off x="1345531" y="3214266"/>
            <a:ext cx="2733675" cy="692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algn="just"/>
            <a:endParaRPr lang="en-US" sz="1200" dirty="0" smtClean="0">
              <a:solidFill>
                <a:srgbClr val="595959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4073236" y="124687"/>
            <a:ext cx="1246909" cy="259773"/>
          </a:xfrm>
          <a:prstGeom prst="rect">
            <a:avLst/>
          </a:prstGeom>
          <a:solidFill>
            <a:srgbClr val="000000">
              <a:lumMod val="50000"/>
              <a:lumOff val="5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COVERY</a:t>
            </a:r>
          </a:p>
        </p:txBody>
      </p:sp>
      <p:sp>
        <p:nvSpPr>
          <p:cNvPr id="37" name="Rectangle 36"/>
          <p:cNvSpPr/>
          <p:nvPr/>
        </p:nvSpPr>
        <p:spPr>
          <a:xfrm>
            <a:off x="6567054" y="120997"/>
            <a:ext cx="1246909" cy="259773"/>
          </a:xfrm>
          <a:prstGeom prst="rect">
            <a:avLst/>
          </a:prstGeom>
          <a:solidFill>
            <a:srgbClr val="000000">
              <a:lumMod val="50000"/>
              <a:lumOff val="5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LEMENTATION</a:t>
            </a:r>
          </a:p>
        </p:txBody>
      </p:sp>
      <p:sp>
        <p:nvSpPr>
          <p:cNvPr id="38" name="Rectangle 37"/>
          <p:cNvSpPr/>
          <p:nvPr/>
        </p:nvSpPr>
        <p:spPr>
          <a:xfrm>
            <a:off x="7813963" y="120997"/>
            <a:ext cx="1246909" cy="259773"/>
          </a:xfrm>
          <a:prstGeom prst="rect">
            <a:avLst/>
          </a:prstGeom>
          <a:solidFill>
            <a:srgbClr val="000000">
              <a:lumMod val="50000"/>
              <a:lumOff val="5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ERATIONS</a:t>
            </a:r>
          </a:p>
        </p:txBody>
      </p:sp>
      <p:sp>
        <p:nvSpPr>
          <p:cNvPr id="39" name="Rectangle 38"/>
          <p:cNvSpPr/>
          <p:nvPr/>
        </p:nvSpPr>
        <p:spPr>
          <a:xfrm>
            <a:off x="5320145" y="122842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OLUTIONING</a:t>
            </a:r>
            <a:endParaRPr lang="en-US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2826327" y="122842"/>
            <a:ext cx="1246909" cy="259773"/>
          </a:xfrm>
          <a:prstGeom prst="rect">
            <a:avLst/>
          </a:prstGeom>
          <a:solidFill>
            <a:srgbClr val="FF0000">
              <a:lumMod val="60000"/>
              <a:lumOff val="4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EATION</a:t>
            </a:r>
          </a:p>
        </p:txBody>
      </p:sp>
      <p:sp>
        <p:nvSpPr>
          <p:cNvPr id="41" name="Google Shape;177;p27"/>
          <p:cNvSpPr/>
          <p:nvPr/>
        </p:nvSpPr>
        <p:spPr>
          <a:xfrm>
            <a:off x="1328445" y="1424269"/>
            <a:ext cx="2733675" cy="692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algn="ctr"/>
            <a:r>
              <a:rPr lang="en-PH" sz="1300" dirty="0" smtClean="0"/>
              <a:t>MEASURES OF THE PROCESS</a:t>
            </a:r>
            <a:endParaRPr lang="en-PH" sz="1300" dirty="0"/>
          </a:p>
        </p:txBody>
      </p:sp>
      <p:sp>
        <p:nvSpPr>
          <p:cNvPr id="43" name="Google Shape;177;p27"/>
          <p:cNvSpPr/>
          <p:nvPr/>
        </p:nvSpPr>
        <p:spPr>
          <a:xfrm>
            <a:off x="1328445" y="3283797"/>
            <a:ext cx="2733675" cy="692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sz="800" dirty="0"/>
              <a:t>HANDLE DU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sz="800" dirty="0"/>
              <a:t>SERVICE LEVEL </a:t>
            </a:r>
            <a:r>
              <a:rPr lang="en-PH" sz="800" dirty="0" smtClean="0"/>
              <a:t>AGREEMENT</a:t>
            </a:r>
            <a:endParaRPr lang="en-PH" sz="800" dirty="0"/>
          </a:p>
        </p:txBody>
      </p:sp>
      <p:sp>
        <p:nvSpPr>
          <p:cNvPr id="31" name="Google Shape;59;p14"/>
          <p:cNvSpPr txBox="1">
            <a:spLocks/>
          </p:cNvSpPr>
          <p:nvPr/>
        </p:nvSpPr>
        <p:spPr>
          <a:xfrm>
            <a:off x="2004" y="4575074"/>
            <a:ext cx="9141995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800" b="1" dirty="0" smtClean="0">
                <a:solidFill>
                  <a:schemeClr val="bg1"/>
                </a:solidFill>
              </a:rPr>
              <a:t>BASIC INFORMATION FOR PROCESS SELECTION</a:t>
            </a:r>
            <a:endParaRPr lang="en-US" sz="2800" b="1" dirty="0">
              <a:solidFill>
                <a:schemeClr val="bg1"/>
              </a:solidFill>
            </a:endParaRPr>
          </a:p>
        </p:txBody>
      </p:sp>
      <p:cxnSp>
        <p:nvCxnSpPr>
          <p:cNvPr id="35" name="Google Shape;224;p28"/>
          <p:cNvCxnSpPr/>
          <p:nvPr/>
        </p:nvCxnSpPr>
        <p:spPr>
          <a:xfrm rot="10800000" flipH="1">
            <a:off x="4611935" y="4155961"/>
            <a:ext cx="3362325" cy="11169"/>
          </a:xfrm>
          <a:prstGeom prst="straightConnector1">
            <a:avLst/>
          </a:prstGeom>
          <a:noFill/>
          <a:ln w="9525" cap="flat" cmpd="sng">
            <a:solidFill>
              <a:schemeClr val="accent1">
                <a:lumMod val="60000"/>
                <a:lumOff val="40000"/>
              </a:schemeClr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42" name="Google Shape;216;p28"/>
          <p:cNvSpPr/>
          <p:nvPr/>
        </p:nvSpPr>
        <p:spPr>
          <a:xfrm>
            <a:off x="4611935" y="2343149"/>
            <a:ext cx="3362325" cy="82794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r>
              <a:rPr lang="en-US" sz="2400" dirty="0">
                <a:solidFill>
                  <a:schemeClr val="lt1"/>
                </a:solidFill>
              </a:rPr>
              <a:t>   </a:t>
            </a:r>
            <a:r>
              <a:rPr lang="en-US" sz="2400" dirty="0" smtClean="0">
                <a:solidFill>
                  <a:schemeClr val="lt1"/>
                </a:solidFill>
              </a:rPr>
              <a:t>END</a:t>
            </a:r>
            <a:endParaRPr sz="24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" name="Google Shape;174;p27"/>
          <p:cNvSpPr/>
          <p:nvPr/>
        </p:nvSpPr>
        <p:spPr>
          <a:xfrm>
            <a:off x="1169738" y="695325"/>
            <a:ext cx="3362325" cy="3752850"/>
          </a:xfrm>
          <a:prstGeom prst="roundRect">
            <a:avLst>
              <a:gd name="adj" fmla="val 3204"/>
            </a:avLst>
          </a:prstGeom>
          <a:solidFill>
            <a:srgbClr val="D9D9D9">
              <a:alpha val="70980"/>
            </a:srgbClr>
          </a:solidFill>
          <a:ln>
            <a:noFill/>
          </a:ln>
          <a:effectLst>
            <a:outerShdw blurRad="241300" dist="127000" dir="4800000" algn="t" rotWithShape="0">
              <a:srgbClr val="000000">
                <a:alpha val="23921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28990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Google Shape;227;p28"/>
          <p:cNvSpPr/>
          <p:nvPr/>
        </p:nvSpPr>
        <p:spPr>
          <a:xfrm>
            <a:off x="1068936" y="0"/>
            <a:ext cx="608782" cy="5143500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28" name="Google Shape;228;p28"/>
          <p:cNvGrpSpPr/>
          <p:nvPr/>
        </p:nvGrpSpPr>
        <p:grpSpPr>
          <a:xfrm>
            <a:off x="1" y="606173"/>
            <a:ext cx="5527496" cy="862441"/>
            <a:chOff x="1" y="707962"/>
            <a:chExt cx="7970291" cy="1630907"/>
          </a:xfrm>
        </p:grpSpPr>
        <p:sp>
          <p:nvSpPr>
            <p:cNvPr id="229" name="Google Shape;229;p28"/>
            <p:cNvSpPr/>
            <p:nvPr/>
          </p:nvSpPr>
          <p:spPr>
            <a:xfrm>
              <a:off x="2430999" y="1189024"/>
              <a:ext cx="5539293" cy="1149845"/>
            </a:xfrm>
            <a:prstGeom prst="homePlate">
              <a:avLst>
                <a:gd name="adj" fmla="val 50000"/>
              </a:avLst>
            </a:prstGeom>
            <a:gradFill>
              <a:gsLst>
                <a:gs pos="0">
                  <a:srgbClr val="9E0000"/>
                </a:gs>
                <a:gs pos="50000">
                  <a:srgbClr val="E40000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296466"/>
              <a:r>
                <a:rPr lang="en-US" sz="1350" b="1" dirty="0" smtClean="0">
                  <a:solidFill>
                    <a:srgbClr val="FFFFFF"/>
                  </a:solidFill>
                </a:rPr>
                <a:t>Governance </a:t>
              </a:r>
              <a:r>
                <a:rPr lang="en-US" sz="1350" b="1" dirty="0">
                  <a:solidFill>
                    <a:srgbClr val="FFFFFF"/>
                  </a:solidFill>
                </a:rPr>
                <a:t>Model Overview</a:t>
              </a:r>
              <a:endParaRPr sz="135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0" name="Google Shape;230;p28"/>
            <p:cNvSpPr/>
            <p:nvPr/>
          </p:nvSpPr>
          <p:spPr>
            <a:xfrm>
              <a:off x="1" y="1189023"/>
              <a:ext cx="1542190" cy="1149845"/>
            </a:xfrm>
            <a:prstGeom prst="rect">
              <a:avLst/>
            </a:prstGeom>
            <a:gradFill>
              <a:gsLst>
                <a:gs pos="0">
                  <a:srgbClr val="9E0000"/>
                </a:gs>
                <a:gs pos="50000">
                  <a:srgbClr val="E40000"/>
                </a:gs>
                <a:gs pos="100000">
                  <a:schemeClr val="accent3"/>
                </a:gs>
              </a:gsLst>
              <a:lin ang="10800000" scaled="0"/>
            </a:gradFill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31" name="Google Shape;231;p28"/>
            <p:cNvGrpSpPr/>
            <p:nvPr/>
          </p:nvGrpSpPr>
          <p:grpSpPr>
            <a:xfrm>
              <a:off x="1299942" y="707962"/>
              <a:ext cx="1373307" cy="1630907"/>
              <a:chOff x="1333213" y="283213"/>
              <a:chExt cx="1373307" cy="1630907"/>
            </a:xfrm>
          </p:grpSpPr>
          <p:grpSp>
            <p:nvGrpSpPr>
              <p:cNvPr id="232" name="Google Shape;232;p28"/>
              <p:cNvGrpSpPr/>
              <p:nvPr/>
            </p:nvGrpSpPr>
            <p:grpSpPr>
              <a:xfrm>
                <a:off x="1333213" y="1647988"/>
                <a:ext cx="1373307" cy="266132"/>
                <a:chOff x="1333208" y="1624082"/>
                <a:chExt cx="1373307" cy="266132"/>
              </a:xfrm>
            </p:grpSpPr>
            <p:sp>
              <p:nvSpPr>
                <p:cNvPr id="233" name="Google Shape;233;p28"/>
                <p:cNvSpPr/>
                <p:nvPr/>
              </p:nvSpPr>
              <p:spPr>
                <a:xfrm rot="10800000" flipH="1">
                  <a:off x="2464266" y="1624082"/>
                  <a:ext cx="242249" cy="266132"/>
                </a:xfrm>
                <a:prstGeom prst="rtTriangle">
                  <a:avLst/>
                </a:prstGeom>
                <a:solidFill>
                  <a:srgbClr val="BF0000"/>
                </a:solidFill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34" name="Google Shape;234;p28"/>
                <p:cNvSpPr/>
                <p:nvPr/>
              </p:nvSpPr>
              <p:spPr>
                <a:xfrm rot="10800000">
                  <a:off x="1333208" y="1624082"/>
                  <a:ext cx="242249" cy="266132"/>
                </a:xfrm>
                <a:prstGeom prst="rtTriangle">
                  <a:avLst/>
                </a:prstGeom>
                <a:solidFill>
                  <a:srgbClr val="BF0000"/>
                </a:solidFill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235" name="Google Shape;235;p28"/>
              <p:cNvSpPr/>
              <p:nvPr/>
            </p:nvSpPr>
            <p:spPr>
              <a:xfrm>
                <a:off x="1334066" y="283213"/>
                <a:ext cx="1371600" cy="13716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r>
                  <a:rPr lang="en-US" sz="4500" b="1" dirty="0">
                    <a:solidFill>
                      <a:srgbClr val="FFFFFF"/>
                    </a:solidFill>
                  </a:rPr>
                  <a:t>01</a:t>
                </a:r>
                <a:endParaRPr sz="1050" dirty="0"/>
              </a:p>
            </p:txBody>
          </p:sp>
        </p:grpSp>
      </p:grpSp>
      <p:grpSp>
        <p:nvGrpSpPr>
          <p:cNvPr id="236" name="Google Shape;236;p28"/>
          <p:cNvGrpSpPr/>
          <p:nvPr/>
        </p:nvGrpSpPr>
        <p:grpSpPr>
          <a:xfrm>
            <a:off x="1" y="1480057"/>
            <a:ext cx="5527496" cy="862441"/>
            <a:chOff x="1" y="2560623"/>
            <a:chExt cx="7970291" cy="1630907"/>
          </a:xfrm>
        </p:grpSpPr>
        <p:sp>
          <p:nvSpPr>
            <p:cNvPr id="237" name="Google Shape;237;p28"/>
            <p:cNvSpPr/>
            <p:nvPr/>
          </p:nvSpPr>
          <p:spPr>
            <a:xfrm>
              <a:off x="2430999" y="3041685"/>
              <a:ext cx="5539293" cy="1149845"/>
            </a:xfrm>
            <a:prstGeom prst="homePlate">
              <a:avLst>
                <a:gd name="adj" fmla="val 50000"/>
              </a:avLst>
            </a:prstGeom>
            <a:gradFill>
              <a:gsLst>
                <a:gs pos="0">
                  <a:srgbClr val="005E91"/>
                </a:gs>
                <a:gs pos="50000">
                  <a:srgbClr val="0089D2"/>
                </a:gs>
                <a:gs pos="100000">
                  <a:srgbClr val="00A5FC"/>
                </a:gs>
              </a:gsLst>
              <a:lin ang="0" scaled="0"/>
            </a:gradFill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296466"/>
              <a:r>
                <a:rPr lang="en-US" sz="1350" b="1" dirty="0" smtClean="0">
                  <a:solidFill>
                    <a:srgbClr val="FFFFFF"/>
                  </a:solidFill>
                </a:rPr>
                <a:t>Process Selection Overview</a:t>
              </a:r>
              <a:endParaRPr sz="135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8" name="Google Shape;238;p28"/>
            <p:cNvSpPr/>
            <p:nvPr/>
          </p:nvSpPr>
          <p:spPr>
            <a:xfrm>
              <a:off x="1" y="3041684"/>
              <a:ext cx="1542190" cy="1149845"/>
            </a:xfrm>
            <a:prstGeom prst="rect">
              <a:avLst/>
            </a:prstGeom>
            <a:gradFill>
              <a:gsLst>
                <a:gs pos="0">
                  <a:srgbClr val="005E91"/>
                </a:gs>
                <a:gs pos="50000">
                  <a:srgbClr val="0089D2"/>
                </a:gs>
                <a:gs pos="100000">
                  <a:srgbClr val="00A5FC"/>
                </a:gs>
              </a:gsLst>
              <a:lin ang="10800000" scaled="0"/>
            </a:gradFill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39" name="Google Shape;239;p28"/>
            <p:cNvGrpSpPr/>
            <p:nvPr/>
          </p:nvGrpSpPr>
          <p:grpSpPr>
            <a:xfrm>
              <a:off x="1299942" y="2560623"/>
              <a:ext cx="1373307" cy="1630907"/>
              <a:chOff x="1333213" y="283213"/>
              <a:chExt cx="1373307" cy="1630907"/>
            </a:xfrm>
          </p:grpSpPr>
          <p:grpSp>
            <p:nvGrpSpPr>
              <p:cNvPr id="240" name="Google Shape;240;p28"/>
              <p:cNvGrpSpPr/>
              <p:nvPr/>
            </p:nvGrpSpPr>
            <p:grpSpPr>
              <a:xfrm>
                <a:off x="1333213" y="1647988"/>
                <a:ext cx="1373307" cy="266132"/>
                <a:chOff x="1333208" y="1624082"/>
                <a:chExt cx="1373307" cy="266132"/>
              </a:xfrm>
            </p:grpSpPr>
            <p:sp>
              <p:nvSpPr>
                <p:cNvPr id="241" name="Google Shape;241;p28"/>
                <p:cNvSpPr/>
                <p:nvPr/>
              </p:nvSpPr>
              <p:spPr>
                <a:xfrm rot="10800000" flipH="1">
                  <a:off x="2464266" y="1624082"/>
                  <a:ext cx="242249" cy="266132"/>
                </a:xfrm>
                <a:prstGeom prst="rtTriangle">
                  <a:avLst/>
                </a:prstGeom>
                <a:solidFill>
                  <a:srgbClr val="0077B0"/>
                </a:solidFill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42" name="Google Shape;242;p28"/>
                <p:cNvSpPr/>
                <p:nvPr/>
              </p:nvSpPr>
              <p:spPr>
                <a:xfrm rot="10800000">
                  <a:off x="1333208" y="1624082"/>
                  <a:ext cx="242249" cy="266132"/>
                </a:xfrm>
                <a:prstGeom prst="rtTriangle">
                  <a:avLst/>
                </a:prstGeom>
                <a:solidFill>
                  <a:srgbClr val="0077B0"/>
                </a:solidFill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243" name="Google Shape;243;p28"/>
              <p:cNvSpPr/>
              <p:nvPr/>
            </p:nvSpPr>
            <p:spPr>
              <a:xfrm>
                <a:off x="1334066" y="283213"/>
                <a:ext cx="1371600" cy="1371600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r>
                  <a:rPr lang="en-US" sz="4500" b="1">
                    <a:solidFill>
                      <a:srgbClr val="FFFFFF"/>
                    </a:solidFill>
                  </a:rPr>
                  <a:t>02</a:t>
                </a:r>
                <a:endParaRPr sz="1050"/>
              </a:p>
            </p:txBody>
          </p:sp>
        </p:grpSp>
      </p:grpSp>
      <p:grpSp>
        <p:nvGrpSpPr>
          <p:cNvPr id="244" name="Google Shape;244;p28"/>
          <p:cNvGrpSpPr/>
          <p:nvPr/>
        </p:nvGrpSpPr>
        <p:grpSpPr>
          <a:xfrm>
            <a:off x="1" y="2353939"/>
            <a:ext cx="5527496" cy="862442"/>
            <a:chOff x="1" y="4723842"/>
            <a:chExt cx="7970291" cy="1630908"/>
          </a:xfrm>
        </p:grpSpPr>
        <p:sp>
          <p:nvSpPr>
            <p:cNvPr id="245" name="Google Shape;245;p28"/>
            <p:cNvSpPr/>
            <p:nvPr/>
          </p:nvSpPr>
          <p:spPr>
            <a:xfrm>
              <a:off x="2430145" y="5204905"/>
              <a:ext cx="5540147" cy="1149845"/>
            </a:xfrm>
            <a:prstGeom prst="homePlate">
              <a:avLst>
                <a:gd name="adj" fmla="val 50000"/>
              </a:avLst>
            </a:prstGeom>
            <a:gradFill>
              <a:gsLst>
                <a:gs pos="0">
                  <a:srgbClr val="3F6614"/>
                </a:gs>
                <a:gs pos="50000">
                  <a:srgbClr val="5C941D"/>
                </a:gs>
                <a:gs pos="100000">
                  <a:srgbClr val="6EB223"/>
                </a:gs>
              </a:gsLst>
              <a:lin ang="0" scaled="0"/>
            </a:gradFill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296466"/>
              <a:r>
                <a:rPr lang="en-US" sz="1350" b="1" dirty="0" smtClean="0">
                  <a:solidFill>
                    <a:srgbClr val="FFFFFF"/>
                  </a:solidFill>
                </a:rPr>
                <a:t>Process Selection Concepts</a:t>
              </a:r>
              <a:endParaRPr sz="135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6" name="Google Shape;246;p28"/>
            <p:cNvSpPr/>
            <p:nvPr/>
          </p:nvSpPr>
          <p:spPr>
            <a:xfrm>
              <a:off x="1" y="5204904"/>
              <a:ext cx="1541336" cy="1149845"/>
            </a:xfrm>
            <a:prstGeom prst="rect">
              <a:avLst/>
            </a:prstGeom>
            <a:gradFill>
              <a:gsLst>
                <a:gs pos="0">
                  <a:srgbClr val="3F6614"/>
                </a:gs>
                <a:gs pos="50000">
                  <a:srgbClr val="5C941D"/>
                </a:gs>
                <a:gs pos="100000">
                  <a:srgbClr val="6EB223"/>
                </a:gs>
              </a:gsLst>
              <a:lin ang="10800000" scaled="0"/>
            </a:gradFill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47" name="Google Shape;247;p28"/>
            <p:cNvGrpSpPr/>
            <p:nvPr/>
          </p:nvGrpSpPr>
          <p:grpSpPr>
            <a:xfrm>
              <a:off x="1299088" y="4723842"/>
              <a:ext cx="1373307" cy="1630907"/>
              <a:chOff x="1333213" y="283213"/>
              <a:chExt cx="1373307" cy="1630907"/>
            </a:xfrm>
          </p:grpSpPr>
          <p:grpSp>
            <p:nvGrpSpPr>
              <p:cNvPr id="248" name="Google Shape;248;p28"/>
              <p:cNvGrpSpPr/>
              <p:nvPr/>
            </p:nvGrpSpPr>
            <p:grpSpPr>
              <a:xfrm>
                <a:off x="1333213" y="1647988"/>
                <a:ext cx="1373307" cy="266132"/>
                <a:chOff x="1333208" y="1624082"/>
                <a:chExt cx="1373307" cy="266132"/>
              </a:xfrm>
            </p:grpSpPr>
            <p:sp>
              <p:nvSpPr>
                <p:cNvPr id="249" name="Google Shape;249;p28"/>
                <p:cNvSpPr/>
                <p:nvPr/>
              </p:nvSpPr>
              <p:spPr>
                <a:xfrm rot="10800000" flipH="1">
                  <a:off x="2464266" y="1624082"/>
                  <a:ext cx="242249" cy="266132"/>
                </a:xfrm>
                <a:prstGeom prst="rtTriangle">
                  <a:avLst/>
                </a:prstGeom>
                <a:solidFill>
                  <a:srgbClr val="527E21"/>
                </a:solidFill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50" name="Google Shape;250;p28"/>
                <p:cNvSpPr/>
                <p:nvPr/>
              </p:nvSpPr>
              <p:spPr>
                <a:xfrm rot="10800000">
                  <a:off x="1333208" y="1624082"/>
                  <a:ext cx="242249" cy="266132"/>
                </a:xfrm>
                <a:prstGeom prst="rtTriangle">
                  <a:avLst/>
                </a:prstGeom>
                <a:solidFill>
                  <a:srgbClr val="527E21"/>
                </a:solidFill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251" name="Google Shape;251;p28"/>
              <p:cNvSpPr/>
              <p:nvPr/>
            </p:nvSpPr>
            <p:spPr>
              <a:xfrm>
                <a:off x="1334066" y="283213"/>
                <a:ext cx="1371600" cy="13716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r>
                  <a:rPr lang="en-US" sz="4500" b="1" dirty="0">
                    <a:solidFill>
                      <a:srgbClr val="FFFFFF"/>
                    </a:solidFill>
                  </a:rPr>
                  <a:t>03</a:t>
                </a:r>
                <a:endParaRPr sz="1050" dirty="0"/>
              </a:p>
            </p:txBody>
          </p:sp>
        </p:grpSp>
      </p:grpSp>
      <p:sp>
        <p:nvSpPr>
          <p:cNvPr id="252" name="Google Shape;252;p28"/>
          <p:cNvSpPr/>
          <p:nvPr/>
        </p:nvSpPr>
        <p:spPr>
          <a:xfrm>
            <a:off x="5357102" y="860562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accent3"/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3" name="Google Shape;253;p28"/>
          <p:cNvSpPr/>
          <p:nvPr/>
        </p:nvSpPr>
        <p:spPr>
          <a:xfrm>
            <a:off x="5357102" y="1752352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accent5"/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4" name="Google Shape;254;p28"/>
          <p:cNvSpPr/>
          <p:nvPr/>
        </p:nvSpPr>
        <p:spPr>
          <a:xfrm>
            <a:off x="5357102" y="2616174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accent6"/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" name="Google Shape;59;p14"/>
          <p:cNvSpPr txBox="1">
            <a:spLocks/>
          </p:cNvSpPr>
          <p:nvPr/>
        </p:nvSpPr>
        <p:spPr>
          <a:xfrm>
            <a:off x="1769336" y="85026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b="1" dirty="0" smtClean="0">
                <a:solidFill>
                  <a:schemeClr val="bg1"/>
                </a:solidFill>
              </a:rPr>
              <a:t>COURSE OUTLINE</a:t>
            </a:r>
            <a:endParaRPr lang="en-US" b="1" dirty="0">
              <a:solidFill>
                <a:schemeClr val="bg1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" y="3235273"/>
            <a:ext cx="5527496" cy="862441"/>
            <a:chOff x="1" y="3235273"/>
            <a:chExt cx="5527496" cy="862441"/>
          </a:xfrm>
        </p:grpSpPr>
        <p:sp>
          <p:nvSpPr>
            <p:cNvPr id="59" name="Google Shape;229;p28"/>
            <p:cNvSpPr/>
            <p:nvPr/>
          </p:nvSpPr>
          <p:spPr>
            <a:xfrm>
              <a:off x="1685928" y="3489664"/>
              <a:ext cx="3841569" cy="608050"/>
            </a:xfrm>
            <a:prstGeom prst="homePlate">
              <a:avLst>
                <a:gd name="adj" fmla="val 50000"/>
              </a:avLst>
            </a:prstGeom>
            <a:gradFill>
              <a:gsLst>
                <a:gs pos="0">
                  <a:schemeClr val="accent2">
                    <a:lumMod val="50000"/>
                  </a:schemeClr>
                </a:gs>
                <a:gs pos="50000">
                  <a:schemeClr val="accent2"/>
                </a:gs>
                <a:gs pos="100000">
                  <a:schemeClr val="accent2"/>
                </a:gs>
              </a:gsLst>
              <a:lin ang="0" scaled="0"/>
            </a:gradFill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296466"/>
              <a:r>
                <a:rPr lang="en-US" sz="1350" b="1" dirty="0" smtClean="0">
                  <a:solidFill>
                    <a:srgbClr val="FFFFFF"/>
                  </a:solidFill>
                </a:rPr>
                <a:t>Tools Orientation</a:t>
              </a:r>
              <a:endParaRPr sz="135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230;p28"/>
            <p:cNvSpPr/>
            <p:nvPr/>
          </p:nvSpPr>
          <p:spPr>
            <a:xfrm>
              <a:off x="1" y="3489663"/>
              <a:ext cx="1069528" cy="608050"/>
            </a:xfrm>
            <a:prstGeom prst="rect">
              <a:avLst/>
            </a:prstGeom>
            <a:gradFill>
              <a:gsLst>
                <a:gs pos="0">
                  <a:schemeClr val="accent2">
                    <a:lumMod val="50000"/>
                  </a:schemeClr>
                </a:gs>
                <a:gs pos="50000">
                  <a:schemeClr val="accent2">
                    <a:lumMod val="75000"/>
                  </a:schemeClr>
                </a:gs>
                <a:gs pos="100000">
                  <a:schemeClr val="accent2"/>
                </a:gs>
              </a:gsLst>
              <a:lin ang="10800000" scaled="0"/>
            </a:gradFill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62" name="Google Shape;232;p28"/>
            <p:cNvGrpSpPr/>
            <p:nvPr/>
          </p:nvGrpSpPr>
          <p:grpSpPr>
            <a:xfrm>
              <a:off x="901526" y="3956981"/>
              <a:ext cx="952405" cy="140733"/>
              <a:chOff x="1333208" y="1624082"/>
              <a:chExt cx="1373307" cy="266132"/>
            </a:xfrm>
            <a:solidFill>
              <a:schemeClr val="accent2">
                <a:lumMod val="75000"/>
              </a:schemeClr>
            </a:solidFill>
          </p:grpSpPr>
          <p:sp>
            <p:nvSpPr>
              <p:cNvPr id="64" name="Google Shape;233;p28"/>
              <p:cNvSpPr/>
              <p:nvPr/>
            </p:nvSpPr>
            <p:spPr>
              <a:xfrm rot="10800000" flipH="1">
                <a:off x="2464266" y="1624082"/>
                <a:ext cx="242249" cy="266132"/>
              </a:xfrm>
              <a:prstGeom prst="rtTriangle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endParaRPr sz="4500" b="1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Google Shape;234;p28"/>
              <p:cNvSpPr/>
              <p:nvPr/>
            </p:nvSpPr>
            <p:spPr>
              <a:xfrm rot="10800000">
                <a:off x="1333208" y="1624082"/>
                <a:ext cx="242249" cy="266132"/>
              </a:xfrm>
              <a:prstGeom prst="rtTriangle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endParaRPr sz="4500" b="1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63" name="Google Shape;235;p28"/>
            <p:cNvSpPr/>
            <p:nvPr/>
          </p:nvSpPr>
          <p:spPr>
            <a:xfrm>
              <a:off x="902118" y="3235273"/>
              <a:ext cx="951221" cy="72531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r>
                <a:rPr lang="en-US" sz="4500" b="1" dirty="0" smtClean="0">
                  <a:solidFill>
                    <a:srgbClr val="FFFFFF"/>
                  </a:solidFill>
                </a:rPr>
                <a:t>04</a:t>
              </a:r>
              <a:endParaRPr sz="1050" dirty="0"/>
            </a:p>
          </p:txBody>
        </p:sp>
      </p:grpSp>
      <p:sp>
        <p:nvSpPr>
          <p:cNvPr id="67" name="Google Shape;237;p28"/>
          <p:cNvSpPr/>
          <p:nvPr/>
        </p:nvSpPr>
        <p:spPr>
          <a:xfrm>
            <a:off x="1685928" y="4363548"/>
            <a:ext cx="3841569" cy="608050"/>
          </a:xfrm>
          <a:prstGeom prst="homePlate">
            <a:avLst>
              <a:gd name="adj" fmla="val 50000"/>
            </a:avLst>
          </a:prstGeom>
          <a:gradFill>
            <a:gsLst>
              <a:gs pos="0">
                <a:schemeClr val="accent4">
                  <a:lumMod val="75000"/>
                </a:schemeClr>
              </a:gs>
              <a:gs pos="50000">
                <a:schemeClr val="accent4"/>
              </a:gs>
              <a:gs pos="100000">
                <a:schemeClr val="accent4"/>
              </a:gs>
            </a:gsLst>
            <a:lin ang="0" scaled="0"/>
          </a:gradFill>
          <a:ln>
            <a:noFill/>
          </a:ln>
          <a:effectLst>
            <a:outerShdw blurRad="50800" dist="38100" dir="13500000" algn="br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296466"/>
            <a:r>
              <a:rPr lang="en-US" sz="1350" b="1" dirty="0" smtClean="0">
                <a:solidFill>
                  <a:srgbClr val="FFFFFF"/>
                </a:solidFill>
              </a:rPr>
              <a:t>Exam</a:t>
            </a:r>
            <a:endParaRPr sz="1350" b="1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" name="Google Shape;238;p28"/>
          <p:cNvSpPr/>
          <p:nvPr/>
        </p:nvSpPr>
        <p:spPr>
          <a:xfrm>
            <a:off x="1" y="4363547"/>
            <a:ext cx="1069528" cy="608050"/>
          </a:xfrm>
          <a:prstGeom prst="rect">
            <a:avLst/>
          </a:prstGeom>
          <a:gradFill>
            <a:gsLst>
              <a:gs pos="0">
                <a:schemeClr val="accent4">
                  <a:lumMod val="75000"/>
                </a:schemeClr>
              </a:gs>
              <a:gs pos="50000">
                <a:schemeClr val="accent4"/>
              </a:gs>
              <a:gs pos="100000">
                <a:schemeClr val="accent4"/>
              </a:gs>
            </a:gsLst>
            <a:lin ang="10800000" scaled="0"/>
          </a:gradFill>
          <a:ln>
            <a:noFill/>
          </a:ln>
          <a:effectLst>
            <a:outerShdw blurRad="50800" dist="38100" dir="13500000" algn="br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70" name="Google Shape;240;p28"/>
          <p:cNvGrpSpPr/>
          <p:nvPr/>
        </p:nvGrpSpPr>
        <p:grpSpPr>
          <a:xfrm>
            <a:off x="901526" y="4830865"/>
            <a:ext cx="952405" cy="140733"/>
            <a:chOff x="1333208" y="1624082"/>
            <a:chExt cx="1373307" cy="266132"/>
          </a:xfrm>
          <a:solidFill>
            <a:schemeClr val="accent4">
              <a:lumMod val="50000"/>
            </a:schemeClr>
          </a:solidFill>
        </p:grpSpPr>
        <p:sp>
          <p:nvSpPr>
            <p:cNvPr id="72" name="Google Shape;241;p28"/>
            <p:cNvSpPr/>
            <p:nvPr/>
          </p:nvSpPr>
          <p:spPr>
            <a:xfrm rot="10800000" flipH="1">
              <a:off x="2464266" y="1624082"/>
              <a:ext cx="242249" cy="266132"/>
            </a:xfrm>
            <a:prstGeom prst="rtTriangle">
              <a:avLst/>
            </a:prstGeom>
            <a:grpFill/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4500" b="1">
                <a:solidFill>
                  <a:srgbClr val="FFFFFF"/>
                </a:solidFill>
              </a:endParaRPr>
            </a:p>
          </p:txBody>
        </p:sp>
        <p:sp>
          <p:nvSpPr>
            <p:cNvPr id="73" name="Google Shape;242;p28"/>
            <p:cNvSpPr/>
            <p:nvPr/>
          </p:nvSpPr>
          <p:spPr>
            <a:xfrm rot="10800000">
              <a:off x="1333208" y="1624082"/>
              <a:ext cx="242249" cy="266132"/>
            </a:xfrm>
            <a:prstGeom prst="rtTriangle">
              <a:avLst/>
            </a:prstGeom>
            <a:grpFill/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4500" b="1">
                <a:solidFill>
                  <a:srgbClr val="FFFFFF"/>
                </a:solidFill>
              </a:endParaRPr>
            </a:p>
          </p:txBody>
        </p:sp>
      </p:grpSp>
      <p:sp>
        <p:nvSpPr>
          <p:cNvPr id="71" name="Google Shape;243;p28"/>
          <p:cNvSpPr/>
          <p:nvPr/>
        </p:nvSpPr>
        <p:spPr>
          <a:xfrm>
            <a:off x="902118" y="4109157"/>
            <a:ext cx="951221" cy="72531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r>
              <a:rPr lang="en-US" sz="4500" b="1" dirty="0" smtClean="0">
                <a:solidFill>
                  <a:srgbClr val="FFFFFF"/>
                </a:solidFill>
              </a:rPr>
              <a:t>05</a:t>
            </a:r>
            <a:endParaRPr sz="1050" dirty="0"/>
          </a:p>
        </p:txBody>
      </p:sp>
      <p:sp>
        <p:nvSpPr>
          <p:cNvPr id="74" name="Google Shape;252;p28"/>
          <p:cNvSpPr/>
          <p:nvPr/>
        </p:nvSpPr>
        <p:spPr>
          <a:xfrm>
            <a:off x="5357102" y="3489662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accent2"/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" name="Google Shape;253;p28"/>
          <p:cNvSpPr/>
          <p:nvPr/>
        </p:nvSpPr>
        <p:spPr>
          <a:xfrm>
            <a:off x="5357102" y="4381452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accent4"/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35780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3000">
              <a:srgbClr val="003692"/>
            </a:gs>
            <a:gs pos="51000">
              <a:srgbClr val="006FB9"/>
            </a:gs>
            <a:gs pos="100000">
              <a:srgbClr val="0051A5"/>
            </a:gs>
          </a:gsLst>
          <a:path path="circle">
            <a:fillToRect r="100000" b="100000"/>
          </a:path>
          <a:tileRect l="-100000" t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36982803-9E9D-4E88-B89D-AE846D8FB630}"/>
              </a:ext>
            </a:extLst>
          </p:cNvPr>
          <p:cNvSpPr/>
          <p:nvPr/>
        </p:nvSpPr>
        <p:spPr>
          <a:xfrm flipV="1">
            <a:off x="8681" y="2617712"/>
            <a:ext cx="9549323" cy="34289"/>
          </a:xfrm>
          <a:prstGeom prst="rect">
            <a:avLst/>
          </a:prstGeom>
          <a:gradFill>
            <a:gsLst>
              <a:gs pos="3000">
                <a:schemeClr val="bg1"/>
              </a:gs>
              <a:gs pos="99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40">
              <a:buClrTx/>
            </a:pPr>
            <a:endParaRPr lang="en-US" sz="1800" kern="1200">
              <a:solidFill>
                <a:prstClr val="white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64E16148-AD47-4697-8565-75E344F1B208}"/>
              </a:ext>
            </a:extLst>
          </p:cNvPr>
          <p:cNvSpPr txBox="1"/>
          <p:nvPr/>
        </p:nvSpPr>
        <p:spPr>
          <a:xfrm>
            <a:off x="4171950" y="1773464"/>
            <a:ext cx="4914900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40">
              <a:buClrTx/>
            </a:pPr>
            <a:r>
              <a:rPr lang="en-US" sz="4950" b="1" kern="1200" dirty="0" smtClean="0">
                <a:solidFill>
                  <a:prstClr val="white">
                    <a:alpha val="49000"/>
                  </a:prst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CESS SELECTION</a:t>
            </a:r>
            <a:endParaRPr lang="en-US" sz="4950" b="1" kern="1200" dirty="0">
              <a:solidFill>
                <a:prstClr val="white">
                  <a:alpha val="49000"/>
                </a:prst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71E06802-AD2D-4BAD-97AA-A104B4379B83}"/>
              </a:ext>
            </a:extLst>
          </p:cNvPr>
          <p:cNvSpPr txBox="1"/>
          <p:nvPr/>
        </p:nvSpPr>
        <p:spPr>
          <a:xfrm>
            <a:off x="4229100" y="3315457"/>
            <a:ext cx="49149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40">
              <a:buClrTx/>
            </a:pPr>
            <a:r>
              <a:rPr lang="en-US" sz="2100" kern="1200" dirty="0" smtClean="0">
                <a:solidFill>
                  <a:prstClr val="white">
                    <a:alpha val="49000"/>
                  </a:prst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SSESSING</a:t>
            </a:r>
            <a:endParaRPr lang="en-US" sz="2100" kern="1200" dirty="0">
              <a:solidFill>
                <a:prstClr val="white">
                  <a:alpha val="49000"/>
                </a:prst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073236" y="12468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DISCOVERY</a:t>
            </a:r>
            <a:endParaRPr lang="en-US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320145" y="122842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OLUTIONING</a:t>
            </a:r>
            <a:endParaRPr lang="en-US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567054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IMPLEMENTATION</a:t>
            </a:r>
            <a:endParaRPr lang="en-US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7813963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OPERATIONS</a:t>
            </a:r>
            <a:endParaRPr lang="en-US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826327" y="122842"/>
            <a:ext cx="1246909" cy="259773"/>
          </a:xfrm>
          <a:prstGeom prst="rect">
            <a:avLst/>
          </a:prstGeom>
          <a:solidFill>
            <a:srgbClr val="FF0000">
              <a:lumMod val="60000"/>
              <a:lumOff val="4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EATION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98708" y="1340382"/>
            <a:ext cx="4563252" cy="2555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90193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/>
          <p:cNvSpPr/>
          <p:nvPr/>
        </p:nvSpPr>
        <p:spPr>
          <a:xfrm>
            <a:off x="4073236" y="124687"/>
            <a:ext cx="1246909" cy="259773"/>
          </a:xfrm>
          <a:prstGeom prst="rect">
            <a:avLst/>
          </a:prstGeom>
          <a:solidFill>
            <a:srgbClr val="000000">
              <a:lumMod val="50000"/>
              <a:lumOff val="5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COVERY</a:t>
            </a:r>
          </a:p>
        </p:txBody>
      </p:sp>
      <p:sp>
        <p:nvSpPr>
          <p:cNvPr id="37" name="Rectangle 36"/>
          <p:cNvSpPr/>
          <p:nvPr/>
        </p:nvSpPr>
        <p:spPr>
          <a:xfrm>
            <a:off x="6567054" y="120997"/>
            <a:ext cx="1246909" cy="259773"/>
          </a:xfrm>
          <a:prstGeom prst="rect">
            <a:avLst/>
          </a:prstGeom>
          <a:solidFill>
            <a:srgbClr val="000000">
              <a:lumMod val="50000"/>
              <a:lumOff val="5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LEMENTATION</a:t>
            </a:r>
          </a:p>
        </p:txBody>
      </p:sp>
      <p:sp>
        <p:nvSpPr>
          <p:cNvPr id="38" name="Rectangle 37"/>
          <p:cNvSpPr/>
          <p:nvPr/>
        </p:nvSpPr>
        <p:spPr>
          <a:xfrm>
            <a:off x="7813963" y="120997"/>
            <a:ext cx="1246909" cy="259773"/>
          </a:xfrm>
          <a:prstGeom prst="rect">
            <a:avLst/>
          </a:prstGeom>
          <a:solidFill>
            <a:srgbClr val="000000">
              <a:lumMod val="50000"/>
              <a:lumOff val="5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ERATIONS</a:t>
            </a:r>
          </a:p>
        </p:txBody>
      </p:sp>
      <p:sp>
        <p:nvSpPr>
          <p:cNvPr id="39" name="Rectangle 38"/>
          <p:cNvSpPr/>
          <p:nvPr/>
        </p:nvSpPr>
        <p:spPr>
          <a:xfrm>
            <a:off x="5320145" y="122842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OLUTIONING</a:t>
            </a:r>
            <a:endParaRPr lang="en-US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2826327" y="122842"/>
            <a:ext cx="1246909" cy="259773"/>
          </a:xfrm>
          <a:prstGeom prst="rect">
            <a:avLst/>
          </a:prstGeom>
          <a:solidFill>
            <a:srgbClr val="FF0000">
              <a:lumMod val="60000"/>
              <a:lumOff val="4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EATION</a:t>
            </a:r>
          </a:p>
        </p:txBody>
      </p:sp>
      <p:grpSp>
        <p:nvGrpSpPr>
          <p:cNvPr id="45" name="Google Shape;376;p31"/>
          <p:cNvGrpSpPr/>
          <p:nvPr/>
        </p:nvGrpSpPr>
        <p:grpSpPr>
          <a:xfrm>
            <a:off x="767499" y="1064963"/>
            <a:ext cx="2514361" cy="3576196"/>
            <a:chOff x="1341912" y="1365662"/>
            <a:chExt cx="2458192" cy="4349338"/>
          </a:xfrm>
        </p:grpSpPr>
        <p:sp>
          <p:nvSpPr>
            <p:cNvPr id="54" name="Google Shape;377;p31"/>
            <p:cNvSpPr/>
            <p:nvPr/>
          </p:nvSpPr>
          <p:spPr>
            <a:xfrm>
              <a:off x="1341912" y="1365662"/>
              <a:ext cx="2458192" cy="181692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378;p31"/>
            <p:cNvSpPr/>
            <p:nvPr/>
          </p:nvSpPr>
          <p:spPr>
            <a:xfrm flipH="1">
              <a:off x="1341912" y="1365662"/>
              <a:ext cx="2458192" cy="1816925"/>
            </a:xfrm>
            <a:prstGeom prst="rtTriangle">
              <a:avLst/>
            </a:prstGeom>
            <a:solidFill>
              <a:srgbClr val="BF0000">
                <a:alpha val="69803"/>
              </a:srgbClr>
            </a:solidFill>
            <a:ln>
              <a:noFill/>
            </a:ln>
            <a:effectLst>
              <a:outerShdw blurRad="50800" dist="38100" dir="8100000" algn="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379;p31"/>
            <p:cNvSpPr/>
            <p:nvPr/>
          </p:nvSpPr>
          <p:spPr>
            <a:xfrm>
              <a:off x="1341912" y="3182586"/>
              <a:ext cx="2458192" cy="2532414"/>
            </a:xfrm>
            <a:prstGeom prst="rect">
              <a:avLst/>
            </a:prstGeom>
            <a:solidFill>
              <a:srgbClr val="595959"/>
            </a:solidFill>
            <a:ln>
              <a:noFill/>
            </a:ln>
            <a:effectLst>
              <a:outerShdw blurRad="50800" dist="38100" dir="8100000" algn="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PH" sz="1800" dirty="0" smtClean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Determine eligibility of process for RPA</a:t>
              </a:r>
              <a:endParaRPr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61" name="Google Shape;384;p31"/>
          <p:cNvGrpSpPr/>
          <p:nvPr/>
        </p:nvGrpSpPr>
        <p:grpSpPr>
          <a:xfrm>
            <a:off x="5976497" y="1064963"/>
            <a:ext cx="2514361" cy="3576196"/>
            <a:chOff x="1341912" y="1365662"/>
            <a:chExt cx="2458192" cy="4349338"/>
          </a:xfrm>
        </p:grpSpPr>
        <p:sp>
          <p:nvSpPr>
            <p:cNvPr id="62" name="Google Shape;385;p31"/>
            <p:cNvSpPr/>
            <p:nvPr/>
          </p:nvSpPr>
          <p:spPr>
            <a:xfrm>
              <a:off x="1341912" y="1365662"/>
              <a:ext cx="2458192" cy="181692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50800" dist="38100" dir="8100000" algn="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386;p31"/>
            <p:cNvSpPr/>
            <p:nvPr/>
          </p:nvSpPr>
          <p:spPr>
            <a:xfrm flipH="1">
              <a:off x="1341912" y="1365662"/>
              <a:ext cx="2458192" cy="1816925"/>
            </a:xfrm>
            <a:prstGeom prst="rtTriangle">
              <a:avLst/>
            </a:prstGeom>
            <a:solidFill>
              <a:srgbClr val="0077B0">
                <a:alpha val="69803"/>
              </a:srgbClr>
            </a:solidFill>
            <a:ln>
              <a:noFill/>
            </a:ln>
            <a:effectLst>
              <a:outerShdw blurRad="50800" dist="38100" dir="8100000" algn="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" name="Google Shape;387;p31"/>
            <p:cNvSpPr/>
            <p:nvPr/>
          </p:nvSpPr>
          <p:spPr>
            <a:xfrm>
              <a:off x="1341912" y="3182586"/>
              <a:ext cx="2458192" cy="2532414"/>
            </a:xfrm>
            <a:prstGeom prst="rect">
              <a:avLst/>
            </a:prstGeom>
            <a:solidFill>
              <a:srgbClr val="595959"/>
            </a:solidFill>
            <a:ln>
              <a:noFill/>
            </a:ln>
            <a:effectLst>
              <a:outerShdw blurRad="50800" dist="38100" dir="8100000" algn="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PH" sz="1800" dirty="0" smtClean="0">
                  <a:solidFill>
                    <a:schemeClr val="lt1"/>
                  </a:solidFill>
                  <a:ea typeface="Calibri"/>
                </a:rPr>
                <a:t>Determine ROI of initiative</a:t>
              </a:r>
              <a:endParaRPr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65" name="Google Shape;388;p31"/>
          <p:cNvGrpSpPr/>
          <p:nvPr/>
        </p:nvGrpSpPr>
        <p:grpSpPr>
          <a:xfrm>
            <a:off x="3371998" y="1064963"/>
            <a:ext cx="2514361" cy="3576196"/>
            <a:chOff x="1341912" y="1365662"/>
            <a:chExt cx="2458192" cy="4349338"/>
          </a:xfrm>
        </p:grpSpPr>
        <p:sp>
          <p:nvSpPr>
            <p:cNvPr id="66" name="Google Shape;389;p31"/>
            <p:cNvSpPr/>
            <p:nvPr/>
          </p:nvSpPr>
          <p:spPr>
            <a:xfrm>
              <a:off x="1341912" y="1365662"/>
              <a:ext cx="2458192" cy="1816925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  <a:effectLst>
              <a:outerShdw blurRad="50800" dist="38100" dir="8100000" algn="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" name="Google Shape;390;p31"/>
            <p:cNvSpPr/>
            <p:nvPr/>
          </p:nvSpPr>
          <p:spPr>
            <a:xfrm flipH="1">
              <a:off x="1341912" y="1365662"/>
              <a:ext cx="2458192" cy="1816925"/>
            </a:xfrm>
            <a:prstGeom prst="rtTriangle">
              <a:avLst/>
            </a:prstGeom>
            <a:solidFill>
              <a:srgbClr val="527E21">
                <a:alpha val="69803"/>
              </a:srgbClr>
            </a:solidFill>
            <a:ln>
              <a:noFill/>
            </a:ln>
            <a:effectLst>
              <a:outerShdw blurRad="50800" dist="38100" dir="8100000" algn="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" name="Google Shape;391;p31"/>
            <p:cNvSpPr/>
            <p:nvPr/>
          </p:nvSpPr>
          <p:spPr>
            <a:xfrm>
              <a:off x="1341912" y="3182586"/>
              <a:ext cx="2458192" cy="2532414"/>
            </a:xfrm>
            <a:prstGeom prst="rect">
              <a:avLst/>
            </a:prstGeom>
            <a:solidFill>
              <a:srgbClr val="595959"/>
            </a:solidFill>
            <a:ln>
              <a:noFill/>
            </a:ln>
            <a:effectLst>
              <a:outerShdw blurRad="50800" dist="38100" dir="8100000" algn="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PH" sz="1800" dirty="0" smtClean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Determine process complexity</a:t>
              </a:r>
              <a:endParaRPr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69" name="Google Shape;392;p31"/>
          <p:cNvGrpSpPr/>
          <p:nvPr/>
        </p:nvGrpSpPr>
        <p:grpSpPr>
          <a:xfrm>
            <a:off x="2638838" y="1908942"/>
            <a:ext cx="439225" cy="535000"/>
            <a:chOff x="1369" y="448"/>
            <a:chExt cx="858" cy="1253"/>
          </a:xfrm>
        </p:grpSpPr>
        <p:sp>
          <p:nvSpPr>
            <p:cNvPr id="70" name="Google Shape;393;p31"/>
            <p:cNvSpPr/>
            <p:nvPr/>
          </p:nvSpPr>
          <p:spPr>
            <a:xfrm>
              <a:off x="1561" y="1465"/>
              <a:ext cx="475" cy="94"/>
            </a:xfrm>
            <a:custGeom>
              <a:avLst/>
              <a:gdLst/>
              <a:ahLst/>
              <a:cxnLst/>
              <a:rect l="l" t="t" r="r" b="b"/>
              <a:pathLst>
                <a:path w="1425" h="281" extrusionOk="0">
                  <a:moveTo>
                    <a:pt x="179" y="0"/>
                  </a:moveTo>
                  <a:lnTo>
                    <a:pt x="1247" y="0"/>
                  </a:lnTo>
                  <a:lnTo>
                    <a:pt x="1283" y="3"/>
                  </a:lnTo>
                  <a:lnTo>
                    <a:pt x="1316" y="12"/>
                  </a:lnTo>
                  <a:lnTo>
                    <a:pt x="1346" y="24"/>
                  </a:lnTo>
                  <a:lnTo>
                    <a:pt x="1372" y="41"/>
                  </a:lnTo>
                  <a:lnTo>
                    <a:pt x="1395" y="62"/>
                  </a:lnTo>
                  <a:lnTo>
                    <a:pt x="1411" y="85"/>
                  </a:lnTo>
                  <a:lnTo>
                    <a:pt x="1422" y="112"/>
                  </a:lnTo>
                  <a:lnTo>
                    <a:pt x="1425" y="140"/>
                  </a:lnTo>
                  <a:lnTo>
                    <a:pt x="1422" y="169"/>
                  </a:lnTo>
                  <a:lnTo>
                    <a:pt x="1411" y="195"/>
                  </a:lnTo>
                  <a:lnTo>
                    <a:pt x="1395" y="219"/>
                  </a:lnTo>
                  <a:lnTo>
                    <a:pt x="1372" y="239"/>
                  </a:lnTo>
                  <a:lnTo>
                    <a:pt x="1346" y="257"/>
                  </a:lnTo>
                  <a:lnTo>
                    <a:pt x="1316" y="270"/>
                  </a:lnTo>
                  <a:lnTo>
                    <a:pt x="1283" y="279"/>
                  </a:lnTo>
                  <a:lnTo>
                    <a:pt x="1247" y="281"/>
                  </a:lnTo>
                  <a:lnTo>
                    <a:pt x="179" y="281"/>
                  </a:lnTo>
                  <a:lnTo>
                    <a:pt x="142" y="279"/>
                  </a:lnTo>
                  <a:lnTo>
                    <a:pt x="109" y="270"/>
                  </a:lnTo>
                  <a:lnTo>
                    <a:pt x="78" y="257"/>
                  </a:lnTo>
                  <a:lnTo>
                    <a:pt x="53" y="239"/>
                  </a:lnTo>
                  <a:lnTo>
                    <a:pt x="31" y="219"/>
                  </a:lnTo>
                  <a:lnTo>
                    <a:pt x="14" y="195"/>
                  </a:lnTo>
                  <a:lnTo>
                    <a:pt x="4" y="169"/>
                  </a:lnTo>
                  <a:lnTo>
                    <a:pt x="0" y="140"/>
                  </a:lnTo>
                  <a:lnTo>
                    <a:pt x="4" y="113"/>
                  </a:lnTo>
                  <a:lnTo>
                    <a:pt x="15" y="86"/>
                  </a:lnTo>
                  <a:lnTo>
                    <a:pt x="31" y="62"/>
                  </a:lnTo>
                  <a:lnTo>
                    <a:pt x="53" y="41"/>
                  </a:lnTo>
                  <a:lnTo>
                    <a:pt x="79" y="24"/>
                  </a:lnTo>
                  <a:lnTo>
                    <a:pt x="110" y="12"/>
                  </a:lnTo>
                  <a:lnTo>
                    <a:pt x="143" y="3"/>
                  </a:lnTo>
                  <a:lnTo>
                    <a:pt x="179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" name="Google Shape;394;p31"/>
            <p:cNvSpPr/>
            <p:nvPr/>
          </p:nvSpPr>
          <p:spPr>
            <a:xfrm>
              <a:off x="1561" y="1607"/>
              <a:ext cx="475" cy="94"/>
            </a:xfrm>
            <a:custGeom>
              <a:avLst/>
              <a:gdLst/>
              <a:ahLst/>
              <a:cxnLst/>
              <a:rect l="l" t="t" r="r" b="b"/>
              <a:pathLst>
                <a:path w="1425" h="281" extrusionOk="0">
                  <a:moveTo>
                    <a:pt x="179" y="0"/>
                  </a:moveTo>
                  <a:lnTo>
                    <a:pt x="1247" y="0"/>
                  </a:lnTo>
                  <a:lnTo>
                    <a:pt x="1283" y="3"/>
                  </a:lnTo>
                  <a:lnTo>
                    <a:pt x="1316" y="12"/>
                  </a:lnTo>
                  <a:lnTo>
                    <a:pt x="1346" y="24"/>
                  </a:lnTo>
                  <a:lnTo>
                    <a:pt x="1372" y="41"/>
                  </a:lnTo>
                  <a:lnTo>
                    <a:pt x="1395" y="62"/>
                  </a:lnTo>
                  <a:lnTo>
                    <a:pt x="1411" y="86"/>
                  </a:lnTo>
                  <a:lnTo>
                    <a:pt x="1422" y="113"/>
                  </a:lnTo>
                  <a:lnTo>
                    <a:pt x="1425" y="140"/>
                  </a:lnTo>
                  <a:lnTo>
                    <a:pt x="1422" y="169"/>
                  </a:lnTo>
                  <a:lnTo>
                    <a:pt x="1411" y="195"/>
                  </a:lnTo>
                  <a:lnTo>
                    <a:pt x="1395" y="219"/>
                  </a:lnTo>
                  <a:lnTo>
                    <a:pt x="1372" y="239"/>
                  </a:lnTo>
                  <a:lnTo>
                    <a:pt x="1346" y="257"/>
                  </a:lnTo>
                  <a:lnTo>
                    <a:pt x="1316" y="269"/>
                  </a:lnTo>
                  <a:lnTo>
                    <a:pt x="1283" y="279"/>
                  </a:lnTo>
                  <a:lnTo>
                    <a:pt x="1247" y="281"/>
                  </a:lnTo>
                  <a:lnTo>
                    <a:pt x="179" y="281"/>
                  </a:lnTo>
                  <a:lnTo>
                    <a:pt x="142" y="279"/>
                  </a:lnTo>
                  <a:lnTo>
                    <a:pt x="109" y="269"/>
                  </a:lnTo>
                  <a:lnTo>
                    <a:pt x="78" y="257"/>
                  </a:lnTo>
                  <a:lnTo>
                    <a:pt x="53" y="239"/>
                  </a:lnTo>
                  <a:lnTo>
                    <a:pt x="31" y="219"/>
                  </a:lnTo>
                  <a:lnTo>
                    <a:pt x="14" y="195"/>
                  </a:lnTo>
                  <a:lnTo>
                    <a:pt x="4" y="169"/>
                  </a:lnTo>
                  <a:lnTo>
                    <a:pt x="0" y="140"/>
                  </a:lnTo>
                  <a:lnTo>
                    <a:pt x="4" y="113"/>
                  </a:lnTo>
                  <a:lnTo>
                    <a:pt x="15" y="86"/>
                  </a:lnTo>
                  <a:lnTo>
                    <a:pt x="31" y="62"/>
                  </a:lnTo>
                  <a:lnTo>
                    <a:pt x="53" y="41"/>
                  </a:lnTo>
                  <a:lnTo>
                    <a:pt x="79" y="24"/>
                  </a:lnTo>
                  <a:lnTo>
                    <a:pt x="110" y="12"/>
                  </a:lnTo>
                  <a:lnTo>
                    <a:pt x="143" y="3"/>
                  </a:lnTo>
                  <a:lnTo>
                    <a:pt x="179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" name="Google Shape;395;p31"/>
            <p:cNvSpPr/>
            <p:nvPr/>
          </p:nvSpPr>
          <p:spPr>
            <a:xfrm>
              <a:off x="1369" y="448"/>
              <a:ext cx="858" cy="970"/>
            </a:xfrm>
            <a:custGeom>
              <a:avLst/>
              <a:gdLst/>
              <a:ahLst/>
              <a:cxnLst/>
              <a:rect l="l" t="t" r="r" b="b"/>
              <a:pathLst>
                <a:path w="2576" h="2909" extrusionOk="0">
                  <a:moveTo>
                    <a:pt x="1288" y="192"/>
                  </a:moveTo>
                  <a:lnTo>
                    <a:pt x="1199" y="196"/>
                  </a:lnTo>
                  <a:lnTo>
                    <a:pt x="1111" y="206"/>
                  </a:lnTo>
                  <a:lnTo>
                    <a:pt x="1025" y="223"/>
                  </a:lnTo>
                  <a:lnTo>
                    <a:pt x="942" y="247"/>
                  </a:lnTo>
                  <a:lnTo>
                    <a:pt x="862" y="278"/>
                  </a:lnTo>
                  <a:lnTo>
                    <a:pt x="785" y="314"/>
                  </a:lnTo>
                  <a:lnTo>
                    <a:pt x="711" y="357"/>
                  </a:lnTo>
                  <a:lnTo>
                    <a:pt x="641" y="404"/>
                  </a:lnTo>
                  <a:lnTo>
                    <a:pt x="576" y="457"/>
                  </a:lnTo>
                  <a:lnTo>
                    <a:pt x="514" y="513"/>
                  </a:lnTo>
                  <a:lnTo>
                    <a:pt x="456" y="575"/>
                  </a:lnTo>
                  <a:lnTo>
                    <a:pt x="403" y="642"/>
                  </a:lnTo>
                  <a:lnTo>
                    <a:pt x="356" y="712"/>
                  </a:lnTo>
                  <a:lnTo>
                    <a:pt x="315" y="786"/>
                  </a:lnTo>
                  <a:lnTo>
                    <a:pt x="278" y="863"/>
                  </a:lnTo>
                  <a:lnTo>
                    <a:pt x="248" y="944"/>
                  </a:lnTo>
                  <a:lnTo>
                    <a:pt x="224" y="1028"/>
                  </a:lnTo>
                  <a:lnTo>
                    <a:pt x="207" y="1113"/>
                  </a:lnTo>
                  <a:lnTo>
                    <a:pt x="195" y="1202"/>
                  </a:lnTo>
                  <a:lnTo>
                    <a:pt x="192" y="1291"/>
                  </a:lnTo>
                  <a:lnTo>
                    <a:pt x="194" y="1360"/>
                  </a:lnTo>
                  <a:lnTo>
                    <a:pt x="199" y="1425"/>
                  </a:lnTo>
                  <a:lnTo>
                    <a:pt x="207" y="1486"/>
                  </a:lnTo>
                  <a:lnTo>
                    <a:pt x="217" y="1542"/>
                  </a:lnTo>
                  <a:lnTo>
                    <a:pt x="230" y="1595"/>
                  </a:lnTo>
                  <a:lnTo>
                    <a:pt x="245" y="1646"/>
                  </a:lnTo>
                  <a:lnTo>
                    <a:pt x="262" y="1693"/>
                  </a:lnTo>
                  <a:lnTo>
                    <a:pt x="281" y="1739"/>
                  </a:lnTo>
                  <a:lnTo>
                    <a:pt x="301" y="1783"/>
                  </a:lnTo>
                  <a:lnTo>
                    <a:pt x="323" y="1825"/>
                  </a:lnTo>
                  <a:lnTo>
                    <a:pt x="345" y="1867"/>
                  </a:lnTo>
                  <a:lnTo>
                    <a:pt x="369" y="1908"/>
                  </a:lnTo>
                  <a:lnTo>
                    <a:pt x="392" y="1951"/>
                  </a:lnTo>
                  <a:lnTo>
                    <a:pt x="416" y="1992"/>
                  </a:lnTo>
                  <a:lnTo>
                    <a:pt x="439" y="2036"/>
                  </a:lnTo>
                  <a:lnTo>
                    <a:pt x="463" y="2080"/>
                  </a:lnTo>
                  <a:lnTo>
                    <a:pt x="486" y="2126"/>
                  </a:lnTo>
                  <a:lnTo>
                    <a:pt x="508" y="2174"/>
                  </a:lnTo>
                  <a:lnTo>
                    <a:pt x="529" y="2225"/>
                  </a:lnTo>
                  <a:lnTo>
                    <a:pt x="548" y="2279"/>
                  </a:lnTo>
                  <a:lnTo>
                    <a:pt x="567" y="2336"/>
                  </a:lnTo>
                  <a:lnTo>
                    <a:pt x="583" y="2397"/>
                  </a:lnTo>
                  <a:lnTo>
                    <a:pt x="598" y="2463"/>
                  </a:lnTo>
                  <a:lnTo>
                    <a:pt x="609" y="2533"/>
                  </a:lnTo>
                  <a:lnTo>
                    <a:pt x="618" y="2609"/>
                  </a:lnTo>
                  <a:lnTo>
                    <a:pt x="622" y="2633"/>
                  </a:lnTo>
                  <a:lnTo>
                    <a:pt x="630" y="2656"/>
                  </a:lnTo>
                  <a:lnTo>
                    <a:pt x="642" y="2677"/>
                  </a:lnTo>
                  <a:lnTo>
                    <a:pt x="660" y="2694"/>
                  </a:lnTo>
                  <a:lnTo>
                    <a:pt x="679" y="2707"/>
                  </a:lnTo>
                  <a:lnTo>
                    <a:pt x="702" y="2716"/>
                  </a:lnTo>
                  <a:lnTo>
                    <a:pt x="727" y="2718"/>
                  </a:lnTo>
                  <a:lnTo>
                    <a:pt x="1849" y="2718"/>
                  </a:lnTo>
                  <a:lnTo>
                    <a:pt x="1873" y="2716"/>
                  </a:lnTo>
                  <a:lnTo>
                    <a:pt x="1894" y="2709"/>
                  </a:lnTo>
                  <a:lnTo>
                    <a:pt x="1914" y="2698"/>
                  </a:lnTo>
                  <a:lnTo>
                    <a:pt x="1931" y="2683"/>
                  </a:lnTo>
                  <a:lnTo>
                    <a:pt x="1944" y="2664"/>
                  </a:lnTo>
                  <a:lnTo>
                    <a:pt x="1950" y="2648"/>
                  </a:lnTo>
                  <a:lnTo>
                    <a:pt x="1955" y="2630"/>
                  </a:lnTo>
                  <a:lnTo>
                    <a:pt x="1959" y="2609"/>
                  </a:lnTo>
                  <a:lnTo>
                    <a:pt x="1961" y="2587"/>
                  </a:lnTo>
                  <a:lnTo>
                    <a:pt x="1963" y="2568"/>
                  </a:lnTo>
                  <a:lnTo>
                    <a:pt x="1964" y="2549"/>
                  </a:lnTo>
                  <a:lnTo>
                    <a:pt x="1977" y="2477"/>
                  </a:lnTo>
                  <a:lnTo>
                    <a:pt x="1991" y="2410"/>
                  </a:lnTo>
                  <a:lnTo>
                    <a:pt x="2007" y="2348"/>
                  </a:lnTo>
                  <a:lnTo>
                    <a:pt x="2025" y="2289"/>
                  </a:lnTo>
                  <a:lnTo>
                    <a:pt x="2045" y="2234"/>
                  </a:lnTo>
                  <a:lnTo>
                    <a:pt x="2065" y="2182"/>
                  </a:lnTo>
                  <a:lnTo>
                    <a:pt x="2087" y="2133"/>
                  </a:lnTo>
                  <a:lnTo>
                    <a:pt x="2110" y="2085"/>
                  </a:lnTo>
                  <a:lnTo>
                    <a:pt x="2134" y="2041"/>
                  </a:lnTo>
                  <a:lnTo>
                    <a:pt x="2159" y="1997"/>
                  </a:lnTo>
                  <a:lnTo>
                    <a:pt x="2183" y="1954"/>
                  </a:lnTo>
                  <a:lnTo>
                    <a:pt x="2206" y="1913"/>
                  </a:lnTo>
                  <a:lnTo>
                    <a:pt x="2230" y="1870"/>
                  </a:lnTo>
                  <a:lnTo>
                    <a:pt x="2253" y="1828"/>
                  </a:lnTo>
                  <a:lnTo>
                    <a:pt x="2275" y="1785"/>
                  </a:lnTo>
                  <a:lnTo>
                    <a:pt x="2294" y="1741"/>
                  </a:lnTo>
                  <a:lnTo>
                    <a:pt x="2314" y="1695"/>
                  </a:lnTo>
                  <a:lnTo>
                    <a:pt x="2331" y="1647"/>
                  </a:lnTo>
                  <a:lnTo>
                    <a:pt x="2347" y="1596"/>
                  </a:lnTo>
                  <a:lnTo>
                    <a:pt x="2360" y="1542"/>
                  </a:lnTo>
                  <a:lnTo>
                    <a:pt x="2371" y="1486"/>
                  </a:lnTo>
                  <a:lnTo>
                    <a:pt x="2379" y="1425"/>
                  </a:lnTo>
                  <a:lnTo>
                    <a:pt x="2384" y="1359"/>
                  </a:lnTo>
                  <a:lnTo>
                    <a:pt x="2385" y="1290"/>
                  </a:lnTo>
                  <a:lnTo>
                    <a:pt x="2382" y="1200"/>
                  </a:lnTo>
                  <a:lnTo>
                    <a:pt x="2371" y="1112"/>
                  </a:lnTo>
                  <a:lnTo>
                    <a:pt x="2354" y="1027"/>
                  </a:lnTo>
                  <a:lnTo>
                    <a:pt x="2330" y="943"/>
                  </a:lnTo>
                  <a:lnTo>
                    <a:pt x="2299" y="863"/>
                  </a:lnTo>
                  <a:lnTo>
                    <a:pt x="2263" y="786"/>
                  </a:lnTo>
                  <a:lnTo>
                    <a:pt x="2221" y="711"/>
                  </a:lnTo>
                  <a:lnTo>
                    <a:pt x="2173" y="641"/>
                  </a:lnTo>
                  <a:lnTo>
                    <a:pt x="2122" y="575"/>
                  </a:lnTo>
                  <a:lnTo>
                    <a:pt x="2064" y="513"/>
                  </a:lnTo>
                  <a:lnTo>
                    <a:pt x="2002" y="456"/>
                  </a:lnTo>
                  <a:lnTo>
                    <a:pt x="1937" y="404"/>
                  </a:lnTo>
                  <a:lnTo>
                    <a:pt x="1867" y="357"/>
                  </a:lnTo>
                  <a:lnTo>
                    <a:pt x="1792" y="314"/>
                  </a:lnTo>
                  <a:lnTo>
                    <a:pt x="1715" y="278"/>
                  </a:lnTo>
                  <a:lnTo>
                    <a:pt x="1636" y="247"/>
                  </a:lnTo>
                  <a:lnTo>
                    <a:pt x="1552" y="223"/>
                  </a:lnTo>
                  <a:lnTo>
                    <a:pt x="1467" y="206"/>
                  </a:lnTo>
                  <a:lnTo>
                    <a:pt x="1378" y="196"/>
                  </a:lnTo>
                  <a:lnTo>
                    <a:pt x="1288" y="192"/>
                  </a:lnTo>
                  <a:close/>
                  <a:moveTo>
                    <a:pt x="1288" y="0"/>
                  </a:moveTo>
                  <a:lnTo>
                    <a:pt x="1385" y="3"/>
                  </a:lnTo>
                  <a:lnTo>
                    <a:pt x="1479" y="14"/>
                  </a:lnTo>
                  <a:lnTo>
                    <a:pt x="1571" y="31"/>
                  </a:lnTo>
                  <a:lnTo>
                    <a:pt x="1661" y="54"/>
                  </a:lnTo>
                  <a:lnTo>
                    <a:pt x="1747" y="84"/>
                  </a:lnTo>
                  <a:lnTo>
                    <a:pt x="1832" y="120"/>
                  </a:lnTo>
                  <a:lnTo>
                    <a:pt x="1913" y="161"/>
                  </a:lnTo>
                  <a:lnTo>
                    <a:pt x="1990" y="208"/>
                  </a:lnTo>
                  <a:lnTo>
                    <a:pt x="2064" y="260"/>
                  </a:lnTo>
                  <a:lnTo>
                    <a:pt x="2133" y="316"/>
                  </a:lnTo>
                  <a:lnTo>
                    <a:pt x="2200" y="379"/>
                  </a:lnTo>
                  <a:lnTo>
                    <a:pt x="2261" y="444"/>
                  </a:lnTo>
                  <a:lnTo>
                    <a:pt x="2317" y="514"/>
                  </a:lnTo>
                  <a:lnTo>
                    <a:pt x="2369" y="588"/>
                  </a:lnTo>
                  <a:lnTo>
                    <a:pt x="2416" y="666"/>
                  </a:lnTo>
                  <a:lnTo>
                    <a:pt x="2456" y="748"/>
                  </a:lnTo>
                  <a:lnTo>
                    <a:pt x="2492" y="832"/>
                  </a:lnTo>
                  <a:lnTo>
                    <a:pt x="2522" y="920"/>
                  </a:lnTo>
                  <a:lnTo>
                    <a:pt x="2545" y="1009"/>
                  </a:lnTo>
                  <a:lnTo>
                    <a:pt x="2562" y="1103"/>
                  </a:lnTo>
                  <a:lnTo>
                    <a:pt x="2572" y="1197"/>
                  </a:lnTo>
                  <a:lnTo>
                    <a:pt x="2576" y="1294"/>
                  </a:lnTo>
                  <a:lnTo>
                    <a:pt x="2573" y="1368"/>
                  </a:lnTo>
                  <a:lnTo>
                    <a:pt x="2569" y="1439"/>
                  </a:lnTo>
                  <a:lnTo>
                    <a:pt x="2561" y="1504"/>
                  </a:lnTo>
                  <a:lnTo>
                    <a:pt x="2550" y="1566"/>
                  </a:lnTo>
                  <a:lnTo>
                    <a:pt x="2537" y="1625"/>
                  </a:lnTo>
                  <a:lnTo>
                    <a:pt x="2522" y="1680"/>
                  </a:lnTo>
                  <a:lnTo>
                    <a:pt x="2504" y="1733"/>
                  </a:lnTo>
                  <a:lnTo>
                    <a:pt x="2485" y="1783"/>
                  </a:lnTo>
                  <a:lnTo>
                    <a:pt x="2465" y="1831"/>
                  </a:lnTo>
                  <a:lnTo>
                    <a:pt x="2444" y="1876"/>
                  </a:lnTo>
                  <a:lnTo>
                    <a:pt x="2422" y="1920"/>
                  </a:lnTo>
                  <a:lnTo>
                    <a:pt x="2400" y="1961"/>
                  </a:lnTo>
                  <a:lnTo>
                    <a:pt x="2377" y="2003"/>
                  </a:lnTo>
                  <a:lnTo>
                    <a:pt x="2355" y="2042"/>
                  </a:lnTo>
                  <a:lnTo>
                    <a:pt x="2330" y="2087"/>
                  </a:lnTo>
                  <a:lnTo>
                    <a:pt x="2304" y="2131"/>
                  </a:lnTo>
                  <a:lnTo>
                    <a:pt x="2280" y="2177"/>
                  </a:lnTo>
                  <a:lnTo>
                    <a:pt x="2257" y="2225"/>
                  </a:lnTo>
                  <a:lnTo>
                    <a:pt x="2236" y="2274"/>
                  </a:lnTo>
                  <a:lnTo>
                    <a:pt x="2215" y="2327"/>
                  </a:lnTo>
                  <a:lnTo>
                    <a:pt x="2196" y="2383"/>
                  </a:lnTo>
                  <a:lnTo>
                    <a:pt x="2180" y="2443"/>
                  </a:lnTo>
                  <a:lnTo>
                    <a:pt x="2167" y="2508"/>
                  </a:lnTo>
                  <a:lnTo>
                    <a:pt x="2155" y="2578"/>
                  </a:lnTo>
                  <a:lnTo>
                    <a:pt x="2155" y="2581"/>
                  </a:lnTo>
                  <a:lnTo>
                    <a:pt x="2154" y="2586"/>
                  </a:lnTo>
                  <a:lnTo>
                    <a:pt x="2153" y="2591"/>
                  </a:lnTo>
                  <a:lnTo>
                    <a:pt x="2153" y="2595"/>
                  </a:lnTo>
                  <a:lnTo>
                    <a:pt x="2150" y="2625"/>
                  </a:lnTo>
                  <a:lnTo>
                    <a:pt x="2145" y="2659"/>
                  </a:lnTo>
                  <a:lnTo>
                    <a:pt x="2137" y="2693"/>
                  </a:lnTo>
                  <a:lnTo>
                    <a:pt x="2125" y="2730"/>
                  </a:lnTo>
                  <a:lnTo>
                    <a:pt x="2107" y="2764"/>
                  </a:lnTo>
                  <a:lnTo>
                    <a:pt x="2085" y="2797"/>
                  </a:lnTo>
                  <a:lnTo>
                    <a:pt x="2059" y="2825"/>
                  </a:lnTo>
                  <a:lnTo>
                    <a:pt x="2030" y="2851"/>
                  </a:lnTo>
                  <a:lnTo>
                    <a:pt x="1998" y="2871"/>
                  </a:lnTo>
                  <a:lnTo>
                    <a:pt x="1963" y="2888"/>
                  </a:lnTo>
                  <a:lnTo>
                    <a:pt x="1926" y="2900"/>
                  </a:lnTo>
                  <a:lnTo>
                    <a:pt x="1887" y="2907"/>
                  </a:lnTo>
                  <a:lnTo>
                    <a:pt x="1848" y="2909"/>
                  </a:lnTo>
                  <a:lnTo>
                    <a:pt x="727" y="2909"/>
                  </a:lnTo>
                  <a:lnTo>
                    <a:pt x="685" y="2906"/>
                  </a:lnTo>
                  <a:lnTo>
                    <a:pt x="644" y="2897"/>
                  </a:lnTo>
                  <a:lnTo>
                    <a:pt x="604" y="2883"/>
                  </a:lnTo>
                  <a:lnTo>
                    <a:pt x="568" y="2863"/>
                  </a:lnTo>
                  <a:lnTo>
                    <a:pt x="534" y="2839"/>
                  </a:lnTo>
                  <a:lnTo>
                    <a:pt x="506" y="2810"/>
                  </a:lnTo>
                  <a:lnTo>
                    <a:pt x="479" y="2778"/>
                  </a:lnTo>
                  <a:lnTo>
                    <a:pt x="458" y="2743"/>
                  </a:lnTo>
                  <a:lnTo>
                    <a:pt x="442" y="2705"/>
                  </a:lnTo>
                  <a:lnTo>
                    <a:pt x="432" y="2663"/>
                  </a:lnTo>
                  <a:lnTo>
                    <a:pt x="426" y="2621"/>
                  </a:lnTo>
                  <a:lnTo>
                    <a:pt x="417" y="2549"/>
                  </a:lnTo>
                  <a:lnTo>
                    <a:pt x="406" y="2482"/>
                  </a:lnTo>
                  <a:lnTo>
                    <a:pt x="391" y="2421"/>
                  </a:lnTo>
                  <a:lnTo>
                    <a:pt x="375" y="2365"/>
                  </a:lnTo>
                  <a:lnTo>
                    <a:pt x="356" y="2312"/>
                  </a:lnTo>
                  <a:lnTo>
                    <a:pt x="337" y="2261"/>
                  </a:lnTo>
                  <a:lnTo>
                    <a:pt x="315" y="2214"/>
                  </a:lnTo>
                  <a:lnTo>
                    <a:pt x="293" y="2169"/>
                  </a:lnTo>
                  <a:lnTo>
                    <a:pt x="270" y="2125"/>
                  </a:lnTo>
                  <a:lnTo>
                    <a:pt x="246" y="2081"/>
                  </a:lnTo>
                  <a:lnTo>
                    <a:pt x="221" y="2038"/>
                  </a:lnTo>
                  <a:lnTo>
                    <a:pt x="199" y="1998"/>
                  </a:lnTo>
                  <a:lnTo>
                    <a:pt x="176" y="1958"/>
                  </a:lnTo>
                  <a:lnTo>
                    <a:pt x="154" y="1916"/>
                  </a:lnTo>
                  <a:lnTo>
                    <a:pt x="132" y="1872"/>
                  </a:lnTo>
                  <a:lnTo>
                    <a:pt x="110" y="1826"/>
                  </a:lnTo>
                  <a:lnTo>
                    <a:pt x="91" y="1779"/>
                  </a:lnTo>
                  <a:lnTo>
                    <a:pt x="71" y="1730"/>
                  </a:lnTo>
                  <a:lnTo>
                    <a:pt x="54" y="1677"/>
                  </a:lnTo>
                  <a:lnTo>
                    <a:pt x="39" y="1622"/>
                  </a:lnTo>
                  <a:lnTo>
                    <a:pt x="25" y="1563"/>
                  </a:lnTo>
                  <a:lnTo>
                    <a:pt x="15" y="1501"/>
                  </a:lnTo>
                  <a:lnTo>
                    <a:pt x="7" y="1434"/>
                  </a:lnTo>
                  <a:lnTo>
                    <a:pt x="2" y="1364"/>
                  </a:lnTo>
                  <a:lnTo>
                    <a:pt x="0" y="1290"/>
                  </a:lnTo>
                  <a:lnTo>
                    <a:pt x="3" y="1193"/>
                  </a:lnTo>
                  <a:lnTo>
                    <a:pt x="14" y="1099"/>
                  </a:lnTo>
                  <a:lnTo>
                    <a:pt x="31" y="1007"/>
                  </a:lnTo>
                  <a:lnTo>
                    <a:pt x="55" y="917"/>
                  </a:lnTo>
                  <a:lnTo>
                    <a:pt x="85" y="831"/>
                  </a:lnTo>
                  <a:lnTo>
                    <a:pt x="121" y="746"/>
                  </a:lnTo>
                  <a:lnTo>
                    <a:pt x="161" y="665"/>
                  </a:lnTo>
                  <a:lnTo>
                    <a:pt x="208" y="588"/>
                  </a:lnTo>
                  <a:lnTo>
                    <a:pt x="260" y="513"/>
                  </a:lnTo>
                  <a:lnTo>
                    <a:pt x="316" y="444"/>
                  </a:lnTo>
                  <a:lnTo>
                    <a:pt x="378" y="377"/>
                  </a:lnTo>
                  <a:lnTo>
                    <a:pt x="444" y="316"/>
                  </a:lnTo>
                  <a:lnTo>
                    <a:pt x="514" y="259"/>
                  </a:lnTo>
                  <a:lnTo>
                    <a:pt x="587" y="207"/>
                  </a:lnTo>
                  <a:lnTo>
                    <a:pt x="665" y="161"/>
                  </a:lnTo>
                  <a:lnTo>
                    <a:pt x="746" y="120"/>
                  </a:lnTo>
                  <a:lnTo>
                    <a:pt x="830" y="84"/>
                  </a:lnTo>
                  <a:lnTo>
                    <a:pt x="917" y="54"/>
                  </a:lnTo>
                  <a:lnTo>
                    <a:pt x="1007" y="31"/>
                  </a:lnTo>
                  <a:lnTo>
                    <a:pt x="1099" y="14"/>
                  </a:lnTo>
                  <a:lnTo>
                    <a:pt x="1193" y="3"/>
                  </a:lnTo>
                  <a:lnTo>
                    <a:pt x="1288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" name="Google Shape;396;p31"/>
            <p:cNvSpPr/>
            <p:nvPr/>
          </p:nvSpPr>
          <p:spPr>
            <a:xfrm>
              <a:off x="1656" y="622"/>
              <a:ext cx="287" cy="458"/>
            </a:xfrm>
            <a:custGeom>
              <a:avLst/>
              <a:gdLst/>
              <a:ahLst/>
              <a:cxnLst/>
              <a:rect l="l" t="t" r="r" b="b"/>
              <a:pathLst>
                <a:path w="860" h="1375" extrusionOk="0">
                  <a:moveTo>
                    <a:pt x="851" y="0"/>
                  </a:moveTo>
                  <a:lnTo>
                    <a:pt x="855" y="2"/>
                  </a:lnTo>
                  <a:lnTo>
                    <a:pt x="859" y="10"/>
                  </a:lnTo>
                  <a:lnTo>
                    <a:pt x="860" y="22"/>
                  </a:lnTo>
                  <a:lnTo>
                    <a:pt x="860" y="43"/>
                  </a:lnTo>
                  <a:lnTo>
                    <a:pt x="854" y="104"/>
                  </a:lnTo>
                  <a:lnTo>
                    <a:pt x="846" y="165"/>
                  </a:lnTo>
                  <a:lnTo>
                    <a:pt x="835" y="225"/>
                  </a:lnTo>
                  <a:lnTo>
                    <a:pt x="820" y="284"/>
                  </a:lnTo>
                  <a:lnTo>
                    <a:pt x="801" y="341"/>
                  </a:lnTo>
                  <a:lnTo>
                    <a:pt x="779" y="398"/>
                  </a:lnTo>
                  <a:lnTo>
                    <a:pt x="752" y="450"/>
                  </a:lnTo>
                  <a:lnTo>
                    <a:pt x="714" y="513"/>
                  </a:lnTo>
                  <a:lnTo>
                    <a:pt x="673" y="572"/>
                  </a:lnTo>
                  <a:lnTo>
                    <a:pt x="628" y="629"/>
                  </a:lnTo>
                  <a:lnTo>
                    <a:pt x="581" y="683"/>
                  </a:lnTo>
                  <a:lnTo>
                    <a:pt x="532" y="736"/>
                  </a:lnTo>
                  <a:lnTo>
                    <a:pt x="482" y="789"/>
                  </a:lnTo>
                  <a:lnTo>
                    <a:pt x="431" y="841"/>
                  </a:lnTo>
                  <a:lnTo>
                    <a:pt x="382" y="892"/>
                  </a:lnTo>
                  <a:lnTo>
                    <a:pt x="332" y="947"/>
                  </a:lnTo>
                  <a:lnTo>
                    <a:pt x="285" y="1001"/>
                  </a:lnTo>
                  <a:lnTo>
                    <a:pt x="238" y="1062"/>
                  </a:lnTo>
                  <a:lnTo>
                    <a:pt x="195" y="1126"/>
                  </a:lnTo>
                  <a:lnTo>
                    <a:pt x="156" y="1194"/>
                  </a:lnTo>
                  <a:lnTo>
                    <a:pt x="123" y="1265"/>
                  </a:lnTo>
                  <a:lnTo>
                    <a:pt x="95" y="1337"/>
                  </a:lnTo>
                  <a:lnTo>
                    <a:pt x="86" y="1355"/>
                  </a:lnTo>
                  <a:lnTo>
                    <a:pt x="77" y="1368"/>
                  </a:lnTo>
                  <a:lnTo>
                    <a:pt x="68" y="1375"/>
                  </a:lnTo>
                  <a:lnTo>
                    <a:pt x="59" y="1375"/>
                  </a:lnTo>
                  <a:lnTo>
                    <a:pt x="50" y="1369"/>
                  </a:lnTo>
                  <a:lnTo>
                    <a:pt x="41" y="1357"/>
                  </a:lnTo>
                  <a:lnTo>
                    <a:pt x="33" y="1339"/>
                  </a:lnTo>
                  <a:lnTo>
                    <a:pt x="18" y="1281"/>
                  </a:lnTo>
                  <a:lnTo>
                    <a:pt x="8" y="1223"/>
                  </a:lnTo>
                  <a:lnTo>
                    <a:pt x="1" y="1163"/>
                  </a:lnTo>
                  <a:lnTo>
                    <a:pt x="0" y="1103"/>
                  </a:lnTo>
                  <a:lnTo>
                    <a:pt x="2" y="1043"/>
                  </a:lnTo>
                  <a:lnTo>
                    <a:pt x="10" y="983"/>
                  </a:lnTo>
                  <a:lnTo>
                    <a:pt x="22" y="926"/>
                  </a:lnTo>
                  <a:lnTo>
                    <a:pt x="38" y="868"/>
                  </a:lnTo>
                  <a:lnTo>
                    <a:pt x="60" y="813"/>
                  </a:lnTo>
                  <a:lnTo>
                    <a:pt x="86" y="759"/>
                  </a:lnTo>
                  <a:lnTo>
                    <a:pt x="117" y="708"/>
                  </a:lnTo>
                  <a:lnTo>
                    <a:pt x="153" y="660"/>
                  </a:lnTo>
                  <a:lnTo>
                    <a:pt x="207" y="600"/>
                  </a:lnTo>
                  <a:lnTo>
                    <a:pt x="263" y="545"/>
                  </a:lnTo>
                  <a:lnTo>
                    <a:pt x="323" y="492"/>
                  </a:lnTo>
                  <a:lnTo>
                    <a:pt x="385" y="441"/>
                  </a:lnTo>
                  <a:lnTo>
                    <a:pt x="448" y="393"/>
                  </a:lnTo>
                  <a:lnTo>
                    <a:pt x="512" y="343"/>
                  </a:lnTo>
                  <a:lnTo>
                    <a:pt x="576" y="295"/>
                  </a:lnTo>
                  <a:lnTo>
                    <a:pt x="615" y="263"/>
                  </a:lnTo>
                  <a:lnTo>
                    <a:pt x="654" y="230"/>
                  </a:lnTo>
                  <a:lnTo>
                    <a:pt x="693" y="194"/>
                  </a:lnTo>
                  <a:lnTo>
                    <a:pt x="730" y="157"/>
                  </a:lnTo>
                  <a:lnTo>
                    <a:pt x="764" y="118"/>
                  </a:lnTo>
                  <a:lnTo>
                    <a:pt x="796" y="76"/>
                  </a:lnTo>
                  <a:lnTo>
                    <a:pt x="823" y="33"/>
                  </a:lnTo>
                  <a:lnTo>
                    <a:pt x="833" y="17"/>
                  </a:lnTo>
                  <a:lnTo>
                    <a:pt x="843" y="5"/>
                  </a:lnTo>
                  <a:lnTo>
                    <a:pt x="851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Google Shape;397;p31"/>
            <p:cNvSpPr/>
            <p:nvPr/>
          </p:nvSpPr>
          <p:spPr>
            <a:xfrm>
              <a:off x="1693" y="749"/>
              <a:ext cx="278" cy="521"/>
            </a:xfrm>
            <a:custGeom>
              <a:avLst/>
              <a:gdLst/>
              <a:ahLst/>
              <a:cxnLst/>
              <a:rect l="l" t="t" r="r" b="b"/>
              <a:pathLst>
                <a:path w="833" h="1563" extrusionOk="0">
                  <a:moveTo>
                    <a:pt x="788" y="0"/>
                  </a:moveTo>
                  <a:lnTo>
                    <a:pt x="796" y="0"/>
                  </a:lnTo>
                  <a:lnTo>
                    <a:pt x="803" y="7"/>
                  </a:lnTo>
                  <a:lnTo>
                    <a:pt x="808" y="20"/>
                  </a:lnTo>
                  <a:lnTo>
                    <a:pt x="813" y="38"/>
                  </a:lnTo>
                  <a:lnTo>
                    <a:pt x="825" y="113"/>
                  </a:lnTo>
                  <a:lnTo>
                    <a:pt x="831" y="188"/>
                  </a:lnTo>
                  <a:lnTo>
                    <a:pt x="833" y="263"/>
                  </a:lnTo>
                  <a:lnTo>
                    <a:pt x="827" y="336"/>
                  </a:lnTo>
                  <a:lnTo>
                    <a:pt x="819" y="397"/>
                  </a:lnTo>
                  <a:lnTo>
                    <a:pt x="806" y="456"/>
                  </a:lnTo>
                  <a:lnTo>
                    <a:pt x="789" y="513"/>
                  </a:lnTo>
                  <a:lnTo>
                    <a:pt x="766" y="567"/>
                  </a:lnTo>
                  <a:lnTo>
                    <a:pt x="740" y="618"/>
                  </a:lnTo>
                  <a:lnTo>
                    <a:pt x="710" y="667"/>
                  </a:lnTo>
                  <a:lnTo>
                    <a:pt x="675" y="714"/>
                  </a:lnTo>
                  <a:lnTo>
                    <a:pt x="637" y="759"/>
                  </a:lnTo>
                  <a:lnTo>
                    <a:pt x="596" y="801"/>
                  </a:lnTo>
                  <a:lnTo>
                    <a:pt x="551" y="842"/>
                  </a:lnTo>
                  <a:lnTo>
                    <a:pt x="504" y="881"/>
                  </a:lnTo>
                  <a:lnTo>
                    <a:pt x="460" y="912"/>
                  </a:lnTo>
                  <a:lnTo>
                    <a:pt x="413" y="942"/>
                  </a:lnTo>
                  <a:lnTo>
                    <a:pt x="365" y="968"/>
                  </a:lnTo>
                  <a:lnTo>
                    <a:pt x="317" y="995"/>
                  </a:lnTo>
                  <a:lnTo>
                    <a:pt x="268" y="1022"/>
                  </a:lnTo>
                  <a:lnTo>
                    <a:pt x="221" y="1050"/>
                  </a:lnTo>
                  <a:lnTo>
                    <a:pt x="175" y="1080"/>
                  </a:lnTo>
                  <a:lnTo>
                    <a:pt x="134" y="1113"/>
                  </a:lnTo>
                  <a:lnTo>
                    <a:pt x="113" y="1189"/>
                  </a:lnTo>
                  <a:lnTo>
                    <a:pt x="100" y="1266"/>
                  </a:lnTo>
                  <a:lnTo>
                    <a:pt x="94" y="1346"/>
                  </a:lnTo>
                  <a:lnTo>
                    <a:pt x="95" y="1424"/>
                  </a:lnTo>
                  <a:lnTo>
                    <a:pt x="103" y="1504"/>
                  </a:lnTo>
                  <a:lnTo>
                    <a:pt x="103" y="1520"/>
                  </a:lnTo>
                  <a:lnTo>
                    <a:pt x="99" y="1533"/>
                  </a:lnTo>
                  <a:lnTo>
                    <a:pt x="91" y="1545"/>
                  </a:lnTo>
                  <a:lnTo>
                    <a:pt x="82" y="1553"/>
                  </a:lnTo>
                  <a:lnTo>
                    <a:pt x="69" y="1560"/>
                  </a:lnTo>
                  <a:lnTo>
                    <a:pt x="57" y="1563"/>
                  </a:lnTo>
                  <a:lnTo>
                    <a:pt x="45" y="1563"/>
                  </a:lnTo>
                  <a:lnTo>
                    <a:pt x="33" y="1561"/>
                  </a:lnTo>
                  <a:lnTo>
                    <a:pt x="22" y="1554"/>
                  </a:lnTo>
                  <a:lnTo>
                    <a:pt x="15" y="1544"/>
                  </a:lnTo>
                  <a:lnTo>
                    <a:pt x="11" y="1529"/>
                  </a:lnTo>
                  <a:lnTo>
                    <a:pt x="3" y="1446"/>
                  </a:lnTo>
                  <a:lnTo>
                    <a:pt x="0" y="1363"/>
                  </a:lnTo>
                  <a:lnTo>
                    <a:pt x="5" y="1281"/>
                  </a:lnTo>
                  <a:lnTo>
                    <a:pt x="17" y="1201"/>
                  </a:lnTo>
                  <a:lnTo>
                    <a:pt x="35" y="1120"/>
                  </a:lnTo>
                  <a:lnTo>
                    <a:pt x="58" y="1042"/>
                  </a:lnTo>
                  <a:lnTo>
                    <a:pt x="79" y="982"/>
                  </a:lnTo>
                  <a:lnTo>
                    <a:pt x="100" y="923"/>
                  </a:lnTo>
                  <a:lnTo>
                    <a:pt x="127" y="866"/>
                  </a:lnTo>
                  <a:lnTo>
                    <a:pt x="157" y="810"/>
                  </a:lnTo>
                  <a:lnTo>
                    <a:pt x="189" y="757"/>
                  </a:lnTo>
                  <a:lnTo>
                    <a:pt x="226" y="707"/>
                  </a:lnTo>
                  <a:lnTo>
                    <a:pt x="266" y="660"/>
                  </a:lnTo>
                  <a:lnTo>
                    <a:pt x="312" y="612"/>
                  </a:lnTo>
                  <a:lnTo>
                    <a:pt x="359" y="564"/>
                  </a:lnTo>
                  <a:lnTo>
                    <a:pt x="406" y="516"/>
                  </a:lnTo>
                  <a:lnTo>
                    <a:pt x="454" y="469"/>
                  </a:lnTo>
                  <a:lnTo>
                    <a:pt x="503" y="421"/>
                  </a:lnTo>
                  <a:lnTo>
                    <a:pt x="549" y="371"/>
                  </a:lnTo>
                  <a:lnTo>
                    <a:pt x="594" y="320"/>
                  </a:lnTo>
                  <a:lnTo>
                    <a:pt x="635" y="267"/>
                  </a:lnTo>
                  <a:lnTo>
                    <a:pt x="674" y="214"/>
                  </a:lnTo>
                  <a:lnTo>
                    <a:pt x="710" y="158"/>
                  </a:lnTo>
                  <a:lnTo>
                    <a:pt x="740" y="98"/>
                  </a:lnTo>
                  <a:lnTo>
                    <a:pt x="765" y="37"/>
                  </a:lnTo>
                  <a:lnTo>
                    <a:pt x="773" y="19"/>
                  </a:lnTo>
                  <a:lnTo>
                    <a:pt x="781" y="6"/>
                  </a:lnTo>
                  <a:lnTo>
                    <a:pt x="788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5" name="Google Shape;398;p31"/>
          <p:cNvSpPr/>
          <p:nvPr/>
        </p:nvSpPr>
        <p:spPr>
          <a:xfrm>
            <a:off x="5134451" y="1936554"/>
            <a:ext cx="582772" cy="486074"/>
          </a:xfrm>
          <a:custGeom>
            <a:avLst/>
            <a:gdLst/>
            <a:ahLst/>
            <a:cxnLst/>
            <a:rect l="l" t="t" r="r" b="b"/>
            <a:pathLst>
              <a:path w="4444" h="4434" extrusionOk="0">
                <a:moveTo>
                  <a:pt x="2210" y="1221"/>
                </a:moveTo>
                <a:lnTo>
                  <a:pt x="2118" y="1225"/>
                </a:lnTo>
                <a:lnTo>
                  <a:pt x="2030" y="1237"/>
                </a:lnTo>
                <a:lnTo>
                  <a:pt x="1944" y="1256"/>
                </a:lnTo>
                <a:lnTo>
                  <a:pt x="1861" y="1283"/>
                </a:lnTo>
                <a:lnTo>
                  <a:pt x="1782" y="1317"/>
                </a:lnTo>
                <a:lnTo>
                  <a:pt x="1706" y="1356"/>
                </a:lnTo>
                <a:lnTo>
                  <a:pt x="1634" y="1404"/>
                </a:lnTo>
                <a:lnTo>
                  <a:pt x="1567" y="1456"/>
                </a:lnTo>
                <a:lnTo>
                  <a:pt x="1505" y="1513"/>
                </a:lnTo>
                <a:lnTo>
                  <a:pt x="1446" y="1575"/>
                </a:lnTo>
                <a:lnTo>
                  <a:pt x="1395" y="1643"/>
                </a:lnTo>
                <a:lnTo>
                  <a:pt x="1348" y="1715"/>
                </a:lnTo>
                <a:lnTo>
                  <a:pt x="1308" y="1790"/>
                </a:lnTo>
                <a:lnTo>
                  <a:pt x="1275" y="1870"/>
                </a:lnTo>
                <a:lnTo>
                  <a:pt x="1248" y="1953"/>
                </a:lnTo>
                <a:lnTo>
                  <a:pt x="1229" y="2038"/>
                </a:lnTo>
                <a:lnTo>
                  <a:pt x="1216" y="2127"/>
                </a:lnTo>
                <a:lnTo>
                  <a:pt x="1212" y="2218"/>
                </a:lnTo>
                <a:lnTo>
                  <a:pt x="1216" y="2307"/>
                </a:lnTo>
                <a:lnTo>
                  <a:pt x="1229" y="2395"/>
                </a:lnTo>
                <a:lnTo>
                  <a:pt x="1248" y="2481"/>
                </a:lnTo>
                <a:lnTo>
                  <a:pt x="1275" y="2564"/>
                </a:lnTo>
                <a:lnTo>
                  <a:pt x="1308" y="2644"/>
                </a:lnTo>
                <a:lnTo>
                  <a:pt x="1348" y="2719"/>
                </a:lnTo>
                <a:lnTo>
                  <a:pt x="1395" y="2791"/>
                </a:lnTo>
                <a:lnTo>
                  <a:pt x="1446" y="2859"/>
                </a:lnTo>
                <a:lnTo>
                  <a:pt x="1505" y="2921"/>
                </a:lnTo>
                <a:lnTo>
                  <a:pt x="1567" y="2978"/>
                </a:lnTo>
                <a:lnTo>
                  <a:pt x="1634" y="3031"/>
                </a:lnTo>
                <a:lnTo>
                  <a:pt x="1706" y="3077"/>
                </a:lnTo>
                <a:lnTo>
                  <a:pt x="1782" y="3117"/>
                </a:lnTo>
                <a:lnTo>
                  <a:pt x="1861" y="3151"/>
                </a:lnTo>
                <a:lnTo>
                  <a:pt x="1944" y="3178"/>
                </a:lnTo>
                <a:lnTo>
                  <a:pt x="2030" y="3197"/>
                </a:lnTo>
                <a:lnTo>
                  <a:pt x="2118" y="3209"/>
                </a:lnTo>
                <a:lnTo>
                  <a:pt x="2210" y="3213"/>
                </a:lnTo>
                <a:lnTo>
                  <a:pt x="2301" y="3209"/>
                </a:lnTo>
                <a:lnTo>
                  <a:pt x="2389" y="3197"/>
                </a:lnTo>
                <a:lnTo>
                  <a:pt x="2475" y="3178"/>
                </a:lnTo>
                <a:lnTo>
                  <a:pt x="2558" y="3151"/>
                </a:lnTo>
                <a:lnTo>
                  <a:pt x="2637" y="3117"/>
                </a:lnTo>
                <a:lnTo>
                  <a:pt x="2713" y="3077"/>
                </a:lnTo>
                <a:lnTo>
                  <a:pt x="2785" y="3031"/>
                </a:lnTo>
                <a:lnTo>
                  <a:pt x="2852" y="2978"/>
                </a:lnTo>
                <a:lnTo>
                  <a:pt x="2914" y="2921"/>
                </a:lnTo>
                <a:lnTo>
                  <a:pt x="2973" y="2859"/>
                </a:lnTo>
                <a:lnTo>
                  <a:pt x="3025" y="2791"/>
                </a:lnTo>
                <a:lnTo>
                  <a:pt x="3071" y="2719"/>
                </a:lnTo>
                <a:lnTo>
                  <a:pt x="3112" y="2644"/>
                </a:lnTo>
                <a:lnTo>
                  <a:pt x="3144" y="2564"/>
                </a:lnTo>
                <a:lnTo>
                  <a:pt x="3172" y="2481"/>
                </a:lnTo>
                <a:lnTo>
                  <a:pt x="3192" y="2395"/>
                </a:lnTo>
                <a:lnTo>
                  <a:pt x="3203" y="2307"/>
                </a:lnTo>
                <a:lnTo>
                  <a:pt x="3207" y="2218"/>
                </a:lnTo>
                <a:lnTo>
                  <a:pt x="3203" y="2127"/>
                </a:lnTo>
                <a:lnTo>
                  <a:pt x="3192" y="2038"/>
                </a:lnTo>
                <a:lnTo>
                  <a:pt x="3172" y="1953"/>
                </a:lnTo>
                <a:lnTo>
                  <a:pt x="3144" y="1870"/>
                </a:lnTo>
                <a:lnTo>
                  <a:pt x="3112" y="1790"/>
                </a:lnTo>
                <a:lnTo>
                  <a:pt x="3071" y="1715"/>
                </a:lnTo>
                <a:lnTo>
                  <a:pt x="3025" y="1643"/>
                </a:lnTo>
                <a:lnTo>
                  <a:pt x="2973" y="1575"/>
                </a:lnTo>
                <a:lnTo>
                  <a:pt x="2914" y="1513"/>
                </a:lnTo>
                <a:lnTo>
                  <a:pt x="2852" y="1456"/>
                </a:lnTo>
                <a:lnTo>
                  <a:pt x="2785" y="1404"/>
                </a:lnTo>
                <a:lnTo>
                  <a:pt x="2713" y="1356"/>
                </a:lnTo>
                <a:lnTo>
                  <a:pt x="2637" y="1317"/>
                </a:lnTo>
                <a:lnTo>
                  <a:pt x="2558" y="1283"/>
                </a:lnTo>
                <a:lnTo>
                  <a:pt x="2475" y="1256"/>
                </a:lnTo>
                <a:lnTo>
                  <a:pt x="2389" y="1237"/>
                </a:lnTo>
                <a:lnTo>
                  <a:pt x="2301" y="1225"/>
                </a:lnTo>
                <a:lnTo>
                  <a:pt x="2210" y="1221"/>
                </a:lnTo>
                <a:close/>
                <a:moveTo>
                  <a:pt x="1728" y="0"/>
                </a:moveTo>
                <a:lnTo>
                  <a:pt x="2691" y="0"/>
                </a:lnTo>
                <a:lnTo>
                  <a:pt x="2691" y="619"/>
                </a:lnTo>
                <a:lnTo>
                  <a:pt x="2796" y="654"/>
                </a:lnTo>
                <a:lnTo>
                  <a:pt x="2898" y="696"/>
                </a:lnTo>
                <a:lnTo>
                  <a:pt x="2997" y="747"/>
                </a:lnTo>
                <a:lnTo>
                  <a:pt x="3393" y="350"/>
                </a:lnTo>
                <a:lnTo>
                  <a:pt x="3444" y="301"/>
                </a:lnTo>
                <a:lnTo>
                  <a:pt x="3494" y="350"/>
                </a:lnTo>
                <a:lnTo>
                  <a:pt x="4075" y="930"/>
                </a:lnTo>
                <a:lnTo>
                  <a:pt x="4124" y="980"/>
                </a:lnTo>
                <a:lnTo>
                  <a:pt x="4075" y="1031"/>
                </a:lnTo>
                <a:lnTo>
                  <a:pt x="3680" y="1424"/>
                </a:lnTo>
                <a:lnTo>
                  <a:pt x="3720" y="1502"/>
                </a:lnTo>
                <a:lnTo>
                  <a:pt x="3755" y="1583"/>
                </a:lnTo>
                <a:lnTo>
                  <a:pt x="3787" y="1665"/>
                </a:lnTo>
                <a:lnTo>
                  <a:pt x="3814" y="1748"/>
                </a:lnTo>
                <a:lnTo>
                  <a:pt x="4444" y="1748"/>
                </a:lnTo>
                <a:lnTo>
                  <a:pt x="4444" y="2709"/>
                </a:lnTo>
                <a:lnTo>
                  <a:pt x="4373" y="2709"/>
                </a:lnTo>
                <a:lnTo>
                  <a:pt x="4373" y="2709"/>
                </a:lnTo>
                <a:lnTo>
                  <a:pt x="3807" y="2709"/>
                </a:lnTo>
                <a:lnTo>
                  <a:pt x="3772" y="2811"/>
                </a:lnTo>
                <a:lnTo>
                  <a:pt x="3729" y="2912"/>
                </a:lnTo>
                <a:lnTo>
                  <a:pt x="3680" y="3009"/>
                </a:lnTo>
                <a:lnTo>
                  <a:pt x="4124" y="3454"/>
                </a:lnTo>
                <a:lnTo>
                  <a:pt x="4075" y="3504"/>
                </a:lnTo>
                <a:lnTo>
                  <a:pt x="3494" y="4084"/>
                </a:lnTo>
                <a:lnTo>
                  <a:pt x="3444" y="4133"/>
                </a:lnTo>
                <a:lnTo>
                  <a:pt x="2997" y="3688"/>
                </a:lnTo>
                <a:lnTo>
                  <a:pt x="2906" y="3733"/>
                </a:lnTo>
                <a:lnTo>
                  <a:pt x="2811" y="3774"/>
                </a:lnTo>
                <a:lnTo>
                  <a:pt x="2714" y="3808"/>
                </a:lnTo>
                <a:lnTo>
                  <a:pt x="2714" y="4434"/>
                </a:lnTo>
                <a:lnTo>
                  <a:pt x="1752" y="4434"/>
                </a:lnTo>
                <a:lnTo>
                  <a:pt x="1752" y="3822"/>
                </a:lnTo>
                <a:lnTo>
                  <a:pt x="1644" y="3786"/>
                </a:lnTo>
                <a:lnTo>
                  <a:pt x="1539" y="3746"/>
                </a:lnTo>
                <a:lnTo>
                  <a:pt x="1437" y="3697"/>
                </a:lnTo>
                <a:lnTo>
                  <a:pt x="1049" y="4084"/>
                </a:lnTo>
                <a:lnTo>
                  <a:pt x="999" y="4133"/>
                </a:lnTo>
                <a:lnTo>
                  <a:pt x="950" y="4084"/>
                </a:lnTo>
                <a:lnTo>
                  <a:pt x="369" y="3504"/>
                </a:lnTo>
                <a:lnTo>
                  <a:pt x="318" y="3454"/>
                </a:lnTo>
                <a:lnTo>
                  <a:pt x="369" y="3405"/>
                </a:lnTo>
                <a:lnTo>
                  <a:pt x="748" y="3024"/>
                </a:lnTo>
                <a:lnTo>
                  <a:pt x="705" y="2943"/>
                </a:lnTo>
                <a:lnTo>
                  <a:pt x="667" y="2859"/>
                </a:lnTo>
                <a:lnTo>
                  <a:pt x="634" y="2773"/>
                </a:lnTo>
                <a:lnTo>
                  <a:pt x="605" y="2686"/>
                </a:lnTo>
                <a:lnTo>
                  <a:pt x="0" y="2686"/>
                </a:lnTo>
                <a:lnTo>
                  <a:pt x="0" y="1725"/>
                </a:lnTo>
                <a:lnTo>
                  <a:pt x="612" y="1725"/>
                </a:lnTo>
                <a:lnTo>
                  <a:pt x="650" y="1617"/>
                </a:lnTo>
                <a:lnTo>
                  <a:pt x="695" y="1511"/>
                </a:lnTo>
                <a:lnTo>
                  <a:pt x="748" y="1409"/>
                </a:lnTo>
                <a:lnTo>
                  <a:pt x="369" y="1031"/>
                </a:lnTo>
                <a:lnTo>
                  <a:pt x="318" y="980"/>
                </a:lnTo>
                <a:lnTo>
                  <a:pt x="999" y="301"/>
                </a:lnTo>
                <a:lnTo>
                  <a:pt x="1049" y="350"/>
                </a:lnTo>
                <a:lnTo>
                  <a:pt x="1437" y="737"/>
                </a:lnTo>
                <a:lnTo>
                  <a:pt x="1532" y="692"/>
                </a:lnTo>
                <a:lnTo>
                  <a:pt x="1629" y="653"/>
                </a:lnTo>
                <a:lnTo>
                  <a:pt x="1728" y="619"/>
                </a:lnTo>
                <a:lnTo>
                  <a:pt x="1728" y="0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" name="Google Shape;399;p31"/>
          <p:cNvSpPr/>
          <p:nvPr/>
        </p:nvSpPr>
        <p:spPr>
          <a:xfrm>
            <a:off x="7685085" y="1969605"/>
            <a:ext cx="719267" cy="427510"/>
          </a:xfrm>
          <a:custGeom>
            <a:avLst/>
            <a:gdLst/>
            <a:ahLst/>
            <a:cxnLst/>
            <a:rect l="l" t="t" r="r" b="b"/>
            <a:pathLst>
              <a:path w="4515" h="3471" extrusionOk="0">
                <a:moveTo>
                  <a:pt x="2580" y="2621"/>
                </a:moveTo>
                <a:lnTo>
                  <a:pt x="2638" y="2625"/>
                </a:lnTo>
                <a:lnTo>
                  <a:pt x="2693" y="2636"/>
                </a:lnTo>
                <a:lnTo>
                  <a:pt x="2745" y="2654"/>
                </a:lnTo>
                <a:lnTo>
                  <a:pt x="2794" y="2679"/>
                </a:lnTo>
                <a:lnTo>
                  <a:pt x="2840" y="2709"/>
                </a:lnTo>
                <a:lnTo>
                  <a:pt x="2880" y="2745"/>
                </a:lnTo>
                <a:lnTo>
                  <a:pt x="2917" y="2786"/>
                </a:lnTo>
                <a:lnTo>
                  <a:pt x="2947" y="2832"/>
                </a:lnTo>
                <a:lnTo>
                  <a:pt x="2972" y="2880"/>
                </a:lnTo>
                <a:lnTo>
                  <a:pt x="2990" y="2932"/>
                </a:lnTo>
                <a:lnTo>
                  <a:pt x="3001" y="2989"/>
                </a:lnTo>
                <a:lnTo>
                  <a:pt x="3005" y="3045"/>
                </a:lnTo>
                <a:lnTo>
                  <a:pt x="3001" y="3103"/>
                </a:lnTo>
                <a:lnTo>
                  <a:pt x="2990" y="3158"/>
                </a:lnTo>
                <a:lnTo>
                  <a:pt x="2972" y="3210"/>
                </a:lnTo>
                <a:lnTo>
                  <a:pt x="2947" y="3260"/>
                </a:lnTo>
                <a:lnTo>
                  <a:pt x="2917" y="3305"/>
                </a:lnTo>
                <a:lnTo>
                  <a:pt x="2880" y="3345"/>
                </a:lnTo>
                <a:lnTo>
                  <a:pt x="2840" y="3383"/>
                </a:lnTo>
                <a:lnTo>
                  <a:pt x="2794" y="3413"/>
                </a:lnTo>
                <a:lnTo>
                  <a:pt x="2745" y="3438"/>
                </a:lnTo>
                <a:lnTo>
                  <a:pt x="2693" y="3456"/>
                </a:lnTo>
                <a:lnTo>
                  <a:pt x="2638" y="3467"/>
                </a:lnTo>
                <a:lnTo>
                  <a:pt x="2580" y="3471"/>
                </a:lnTo>
                <a:lnTo>
                  <a:pt x="2524" y="3467"/>
                </a:lnTo>
                <a:lnTo>
                  <a:pt x="2467" y="3456"/>
                </a:lnTo>
                <a:lnTo>
                  <a:pt x="2415" y="3438"/>
                </a:lnTo>
                <a:lnTo>
                  <a:pt x="2367" y="3413"/>
                </a:lnTo>
                <a:lnTo>
                  <a:pt x="2322" y="3383"/>
                </a:lnTo>
                <a:lnTo>
                  <a:pt x="2280" y="3345"/>
                </a:lnTo>
                <a:lnTo>
                  <a:pt x="2245" y="3305"/>
                </a:lnTo>
                <a:lnTo>
                  <a:pt x="2214" y="3260"/>
                </a:lnTo>
                <a:lnTo>
                  <a:pt x="2190" y="3210"/>
                </a:lnTo>
                <a:lnTo>
                  <a:pt x="2172" y="3158"/>
                </a:lnTo>
                <a:lnTo>
                  <a:pt x="2159" y="3103"/>
                </a:lnTo>
                <a:lnTo>
                  <a:pt x="2157" y="3045"/>
                </a:lnTo>
                <a:lnTo>
                  <a:pt x="2159" y="2989"/>
                </a:lnTo>
                <a:lnTo>
                  <a:pt x="2172" y="2932"/>
                </a:lnTo>
                <a:lnTo>
                  <a:pt x="2190" y="2880"/>
                </a:lnTo>
                <a:lnTo>
                  <a:pt x="2214" y="2832"/>
                </a:lnTo>
                <a:lnTo>
                  <a:pt x="2245" y="2786"/>
                </a:lnTo>
                <a:lnTo>
                  <a:pt x="2280" y="2745"/>
                </a:lnTo>
                <a:lnTo>
                  <a:pt x="2322" y="2709"/>
                </a:lnTo>
                <a:lnTo>
                  <a:pt x="2367" y="2679"/>
                </a:lnTo>
                <a:lnTo>
                  <a:pt x="2415" y="2654"/>
                </a:lnTo>
                <a:lnTo>
                  <a:pt x="2467" y="2636"/>
                </a:lnTo>
                <a:lnTo>
                  <a:pt x="2524" y="2625"/>
                </a:lnTo>
                <a:lnTo>
                  <a:pt x="2580" y="2621"/>
                </a:lnTo>
                <a:close/>
                <a:moveTo>
                  <a:pt x="1045" y="2621"/>
                </a:moveTo>
                <a:lnTo>
                  <a:pt x="1101" y="2625"/>
                </a:lnTo>
                <a:lnTo>
                  <a:pt x="1157" y="2636"/>
                </a:lnTo>
                <a:lnTo>
                  <a:pt x="1210" y="2654"/>
                </a:lnTo>
                <a:lnTo>
                  <a:pt x="1258" y="2679"/>
                </a:lnTo>
                <a:lnTo>
                  <a:pt x="1303" y="2709"/>
                </a:lnTo>
                <a:lnTo>
                  <a:pt x="1344" y="2745"/>
                </a:lnTo>
                <a:lnTo>
                  <a:pt x="1380" y="2786"/>
                </a:lnTo>
                <a:lnTo>
                  <a:pt x="1410" y="2832"/>
                </a:lnTo>
                <a:lnTo>
                  <a:pt x="1435" y="2880"/>
                </a:lnTo>
                <a:lnTo>
                  <a:pt x="1453" y="2932"/>
                </a:lnTo>
                <a:lnTo>
                  <a:pt x="1464" y="2989"/>
                </a:lnTo>
                <a:lnTo>
                  <a:pt x="1468" y="3045"/>
                </a:lnTo>
                <a:lnTo>
                  <a:pt x="1464" y="3103"/>
                </a:lnTo>
                <a:lnTo>
                  <a:pt x="1453" y="3158"/>
                </a:lnTo>
                <a:lnTo>
                  <a:pt x="1435" y="3210"/>
                </a:lnTo>
                <a:lnTo>
                  <a:pt x="1410" y="3260"/>
                </a:lnTo>
                <a:lnTo>
                  <a:pt x="1380" y="3305"/>
                </a:lnTo>
                <a:lnTo>
                  <a:pt x="1344" y="3345"/>
                </a:lnTo>
                <a:lnTo>
                  <a:pt x="1303" y="3383"/>
                </a:lnTo>
                <a:lnTo>
                  <a:pt x="1258" y="3413"/>
                </a:lnTo>
                <a:lnTo>
                  <a:pt x="1210" y="3438"/>
                </a:lnTo>
                <a:lnTo>
                  <a:pt x="1157" y="3456"/>
                </a:lnTo>
                <a:lnTo>
                  <a:pt x="1101" y="3467"/>
                </a:lnTo>
                <a:lnTo>
                  <a:pt x="1045" y="3471"/>
                </a:lnTo>
                <a:lnTo>
                  <a:pt x="987" y="3467"/>
                </a:lnTo>
                <a:lnTo>
                  <a:pt x="932" y="3456"/>
                </a:lnTo>
                <a:lnTo>
                  <a:pt x="880" y="3438"/>
                </a:lnTo>
                <a:lnTo>
                  <a:pt x="830" y="3413"/>
                </a:lnTo>
                <a:lnTo>
                  <a:pt x="785" y="3383"/>
                </a:lnTo>
                <a:lnTo>
                  <a:pt x="745" y="3345"/>
                </a:lnTo>
                <a:lnTo>
                  <a:pt x="708" y="3305"/>
                </a:lnTo>
                <a:lnTo>
                  <a:pt x="678" y="3260"/>
                </a:lnTo>
                <a:lnTo>
                  <a:pt x="653" y="3210"/>
                </a:lnTo>
                <a:lnTo>
                  <a:pt x="635" y="3158"/>
                </a:lnTo>
                <a:lnTo>
                  <a:pt x="624" y="3103"/>
                </a:lnTo>
                <a:lnTo>
                  <a:pt x="620" y="3045"/>
                </a:lnTo>
                <a:lnTo>
                  <a:pt x="624" y="2989"/>
                </a:lnTo>
                <a:lnTo>
                  <a:pt x="635" y="2932"/>
                </a:lnTo>
                <a:lnTo>
                  <a:pt x="653" y="2880"/>
                </a:lnTo>
                <a:lnTo>
                  <a:pt x="678" y="2832"/>
                </a:lnTo>
                <a:lnTo>
                  <a:pt x="708" y="2786"/>
                </a:lnTo>
                <a:lnTo>
                  <a:pt x="745" y="2745"/>
                </a:lnTo>
                <a:lnTo>
                  <a:pt x="785" y="2709"/>
                </a:lnTo>
                <a:lnTo>
                  <a:pt x="830" y="2679"/>
                </a:lnTo>
                <a:lnTo>
                  <a:pt x="880" y="2654"/>
                </a:lnTo>
                <a:lnTo>
                  <a:pt x="932" y="2636"/>
                </a:lnTo>
                <a:lnTo>
                  <a:pt x="987" y="2625"/>
                </a:lnTo>
                <a:lnTo>
                  <a:pt x="1045" y="2621"/>
                </a:lnTo>
                <a:close/>
                <a:moveTo>
                  <a:pt x="2328" y="1777"/>
                </a:moveTo>
                <a:lnTo>
                  <a:pt x="2348" y="1780"/>
                </a:lnTo>
                <a:lnTo>
                  <a:pt x="2361" y="1791"/>
                </a:lnTo>
                <a:lnTo>
                  <a:pt x="2372" y="1805"/>
                </a:lnTo>
                <a:lnTo>
                  <a:pt x="2375" y="1824"/>
                </a:lnTo>
                <a:lnTo>
                  <a:pt x="2372" y="1842"/>
                </a:lnTo>
                <a:lnTo>
                  <a:pt x="2361" y="1857"/>
                </a:lnTo>
                <a:lnTo>
                  <a:pt x="2348" y="1867"/>
                </a:lnTo>
                <a:lnTo>
                  <a:pt x="2328" y="1871"/>
                </a:lnTo>
                <a:lnTo>
                  <a:pt x="2311" y="1867"/>
                </a:lnTo>
                <a:lnTo>
                  <a:pt x="2295" y="1857"/>
                </a:lnTo>
                <a:lnTo>
                  <a:pt x="2286" y="1842"/>
                </a:lnTo>
                <a:lnTo>
                  <a:pt x="2282" y="1824"/>
                </a:lnTo>
                <a:lnTo>
                  <a:pt x="2286" y="1806"/>
                </a:lnTo>
                <a:lnTo>
                  <a:pt x="2295" y="1791"/>
                </a:lnTo>
                <a:lnTo>
                  <a:pt x="2311" y="1780"/>
                </a:lnTo>
                <a:lnTo>
                  <a:pt x="2328" y="1777"/>
                </a:lnTo>
                <a:close/>
                <a:moveTo>
                  <a:pt x="964" y="1777"/>
                </a:moveTo>
                <a:lnTo>
                  <a:pt x="983" y="1780"/>
                </a:lnTo>
                <a:lnTo>
                  <a:pt x="997" y="1791"/>
                </a:lnTo>
                <a:lnTo>
                  <a:pt x="1008" y="1805"/>
                </a:lnTo>
                <a:lnTo>
                  <a:pt x="1010" y="1824"/>
                </a:lnTo>
                <a:lnTo>
                  <a:pt x="1008" y="1842"/>
                </a:lnTo>
                <a:lnTo>
                  <a:pt x="997" y="1857"/>
                </a:lnTo>
                <a:lnTo>
                  <a:pt x="983" y="1867"/>
                </a:lnTo>
                <a:lnTo>
                  <a:pt x="964" y="1871"/>
                </a:lnTo>
                <a:lnTo>
                  <a:pt x="946" y="1867"/>
                </a:lnTo>
                <a:lnTo>
                  <a:pt x="931" y="1857"/>
                </a:lnTo>
                <a:lnTo>
                  <a:pt x="921" y="1842"/>
                </a:lnTo>
                <a:lnTo>
                  <a:pt x="917" y="1824"/>
                </a:lnTo>
                <a:lnTo>
                  <a:pt x="921" y="1805"/>
                </a:lnTo>
                <a:lnTo>
                  <a:pt x="931" y="1791"/>
                </a:lnTo>
                <a:lnTo>
                  <a:pt x="946" y="1780"/>
                </a:lnTo>
                <a:lnTo>
                  <a:pt x="964" y="1777"/>
                </a:lnTo>
                <a:close/>
                <a:moveTo>
                  <a:pt x="1652" y="1399"/>
                </a:moveTo>
                <a:lnTo>
                  <a:pt x="1113" y="1938"/>
                </a:lnTo>
                <a:lnTo>
                  <a:pt x="2190" y="1938"/>
                </a:lnTo>
                <a:lnTo>
                  <a:pt x="1652" y="1399"/>
                </a:lnTo>
                <a:close/>
                <a:moveTo>
                  <a:pt x="2433" y="617"/>
                </a:moveTo>
                <a:lnTo>
                  <a:pt x="1894" y="1157"/>
                </a:lnTo>
                <a:lnTo>
                  <a:pt x="2433" y="1695"/>
                </a:lnTo>
                <a:lnTo>
                  <a:pt x="2433" y="617"/>
                </a:lnTo>
                <a:close/>
                <a:moveTo>
                  <a:pt x="870" y="617"/>
                </a:moveTo>
                <a:lnTo>
                  <a:pt x="870" y="1695"/>
                </a:lnTo>
                <a:lnTo>
                  <a:pt x="1409" y="1157"/>
                </a:lnTo>
                <a:lnTo>
                  <a:pt x="870" y="617"/>
                </a:lnTo>
                <a:close/>
                <a:moveTo>
                  <a:pt x="2328" y="426"/>
                </a:moveTo>
                <a:lnTo>
                  <a:pt x="2348" y="430"/>
                </a:lnTo>
                <a:lnTo>
                  <a:pt x="2361" y="439"/>
                </a:lnTo>
                <a:lnTo>
                  <a:pt x="2372" y="454"/>
                </a:lnTo>
                <a:lnTo>
                  <a:pt x="2375" y="472"/>
                </a:lnTo>
                <a:lnTo>
                  <a:pt x="2372" y="490"/>
                </a:lnTo>
                <a:lnTo>
                  <a:pt x="2361" y="505"/>
                </a:lnTo>
                <a:lnTo>
                  <a:pt x="2348" y="516"/>
                </a:lnTo>
                <a:lnTo>
                  <a:pt x="2328" y="519"/>
                </a:lnTo>
                <a:lnTo>
                  <a:pt x="2311" y="516"/>
                </a:lnTo>
                <a:lnTo>
                  <a:pt x="2295" y="505"/>
                </a:lnTo>
                <a:lnTo>
                  <a:pt x="2286" y="490"/>
                </a:lnTo>
                <a:lnTo>
                  <a:pt x="2282" y="472"/>
                </a:lnTo>
                <a:lnTo>
                  <a:pt x="2286" y="454"/>
                </a:lnTo>
                <a:lnTo>
                  <a:pt x="2295" y="439"/>
                </a:lnTo>
                <a:lnTo>
                  <a:pt x="2311" y="430"/>
                </a:lnTo>
                <a:lnTo>
                  <a:pt x="2328" y="426"/>
                </a:lnTo>
                <a:close/>
                <a:moveTo>
                  <a:pt x="964" y="426"/>
                </a:moveTo>
                <a:lnTo>
                  <a:pt x="983" y="430"/>
                </a:lnTo>
                <a:lnTo>
                  <a:pt x="997" y="439"/>
                </a:lnTo>
                <a:lnTo>
                  <a:pt x="1008" y="454"/>
                </a:lnTo>
                <a:lnTo>
                  <a:pt x="1010" y="472"/>
                </a:lnTo>
                <a:lnTo>
                  <a:pt x="1008" y="490"/>
                </a:lnTo>
                <a:lnTo>
                  <a:pt x="997" y="505"/>
                </a:lnTo>
                <a:lnTo>
                  <a:pt x="983" y="516"/>
                </a:lnTo>
                <a:lnTo>
                  <a:pt x="964" y="519"/>
                </a:lnTo>
                <a:lnTo>
                  <a:pt x="946" y="516"/>
                </a:lnTo>
                <a:lnTo>
                  <a:pt x="931" y="505"/>
                </a:lnTo>
                <a:lnTo>
                  <a:pt x="921" y="490"/>
                </a:lnTo>
                <a:lnTo>
                  <a:pt x="917" y="472"/>
                </a:lnTo>
                <a:lnTo>
                  <a:pt x="921" y="454"/>
                </a:lnTo>
                <a:lnTo>
                  <a:pt x="931" y="439"/>
                </a:lnTo>
                <a:lnTo>
                  <a:pt x="946" y="430"/>
                </a:lnTo>
                <a:lnTo>
                  <a:pt x="964" y="426"/>
                </a:lnTo>
                <a:close/>
                <a:moveTo>
                  <a:pt x="1113" y="373"/>
                </a:moveTo>
                <a:lnTo>
                  <a:pt x="1652" y="913"/>
                </a:lnTo>
                <a:lnTo>
                  <a:pt x="2190" y="373"/>
                </a:lnTo>
                <a:lnTo>
                  <a:pt x="1113" y="373"/>
                </a:lnTo>
                <a:close/>
                <a:moveTo>
                  <a:pt x="909" y="373"/>
                </a:moveTo>
                <a:lnTo>
                  <a:pt x="870" y="412"/>
                </a:lnTo>
                <a:lnTo>
                  <a:pt x="870" y="529"/>
                </a:lnTo>
                <a:lnTo>
                  <a:pt x="1497" y="1157"/>
                </a:lnTo>
                <a:lnTo>
                  <a:pt x="870" y="1784"/>
                </a:lnTo>
                <a:lnTo>
                  <a:pt x="870" y="1901"/>
                </a:lnTo>
                <a:lnTo>
                  <a:pt x="909" y="1938"/>
                </a:lnTo>
                <a:lnTo>
                  <a:pt x="1024" y="1938"/>
                </a:lnTo>
                <a:lnTo>
                  <a:pt x="1652" y="1311"/>
                </a:lnTo>
                <a:lnTo>
                  <a:pt x="2279" y="1938"/>
                </a:lnTo>
                <a:lnTo>
                  <a:pt x="2396" y="1938"/>
                </a:lnTo>
                <a:lnTo>
                  <a:pt x="2433" y="1901"/>
                </a:lnTo>
                <a:lnTo>
                  <a:pt x="2433" y="1784"/>
                </a:lnTo>
                <a:lnTo>
                  <a:pt x="1806" y="1157"/>
                </a:lnTo>
                <a:lnTo>
                  <a:pt x="2433" y="529"/>
                </a:lnTo>
                <a:lnTo>
                  <a:pt x="2433" y="412"/>
                </a:lnTo>
                <a:lnTo>
                  <a:pt x="2396" y="373"/>
                </a:lnTo>
                <a:lnTo>
                  <a:pt x="2279" y="373"/>
                </a:lnTo>
                <a:lnTo>
                  <a:pt x="1652" y="1001"/>
                </a:lnTo>
                <a:lnTo>
                  <a:pt x="1024" y="373"/>
                </a:lnTo>
                <a:lnTo>
                  <a:pt x="909" y="373"/>
                </a:lnTo>
                <a:close/>
                <a:moveTo>
                  <a:pt x="620" y="123"/>
                </a:moveTo>
                <a:lnTo>
                  <a:pt x="2683" y="123"/>
                </a:lnTo>
                <a:lnTo>
                  <a:pt x="2683" y="2189"/>
                </a:lnTo>
                <a:lnTo>
                  <a:pt x="620" y="2189"/>
                </a:lnTo>
                <a:lnTo>
                  <a:pt x="620" y="123"/>
                </a:lnTo>
                <a:close/>
                <a:moveTo>
                  <a:pt x="4080" y="0"/>
                </a:moveTo>
                <a:lnTo>
                  <a:pt x="4388" y="0"/>
                </a:lnTo>
                <a:lnTo>
                  <a:pt x="4416" y="3"/>
                </a:lnTo>
                <a:lnTo>
                  <a:pt x="4444" y="13"/>
                </a:lnTo>
                <a:lnTo>
                  <a:pt x="4467" y="28"/>
                </a:lnTo>
                <a:lnTo>
                  <a:pt x="4488" y="48"/>
                </a:lnTo>
                <a:lnTo>
                  <a:pt x="4502" y="72"/>
                </a:lnTo>
                <a:lnTo>
                  <a:pt x="4511" y="99"/>
                </a:lnTo>
                <a:lnTo>
                  <a:pt x="4515" y="128"/>
                </a:lnTo>
                <a:lnTo>
                  <a:pt x="4511" y="157"/>
                </a:lnTo>
                <a:lnTo>
                  <a:pt x="4502" y="185"/>
                </a:lnTo>
                <a:lnTo>
                  <a:pt x="4488" y="208"/>
                </a:lnTo>
                <a:lnTo>
                  <a:pt x="4467" y="227"/>
                </a:lnTo>
                <a:lnTo>
                  <a:pt x="4444" y="242"/>
                </a:lnTo>
                <a:lnTo>
                  <a:pt x="4416" y="252"/>
                </a:lnTo>
                <a:lnTo>
                  <a:pt x="4388" y="256"/>
                </a:lnTo>
                <a:lnTo>
                  <a:pt x="4163" y="256"/>
                </a:lnTo>
                <a:lnTo>
                  <a:pt x="3174" y="2533"/>
                </a:lnTo>
                <a:lnTo>
                  <a:pt x="3159" y="2559"/>
                </a:lnTo>
                <a:lnTo>
                  <a:pt x="3139" y="2581"/>
                </a:lnTo>
                <a:lnTo>
                  <a:pt x="3115" y="2597"/>
                </a:lnTo>
                <a:lnTo>
                  <a:pt x="3087" y="2608"/>
                </a:lnTo>
                <a:lnTo>
                  <a:pt x="3057" y="2610"/>
                </a:lnTo>
                <a:lnTo>
                  <a:pt x="128" y="2610"/>
                </a:lnTo>
                <a:lnTo>
                  <a:pt x="99" y="2608"/>
                </a:lnTo>
                <a:lnTo>
                  <a:pt x="71" y="2598"/>
                </a:lnTo>
                <a:lnTo>
                  <a:pt x="48" y="2583"/>
                </a:lnTo>
                <a:lnTo>
                  <a:pt x="27" y="2562"/>
                </a:lnTo>
                <a:lnTo>
                  <a:pt x="12" y="2539"/>
                </a:lnTo>
                <a:lnTo>
                  <a:pt x="3" y="2513"/>
                </a:lnTo>
                <a:lnTo>
                  <a:pt x="0" y="2482"/>
                </a:lnTo>
                <a:lnTo>
                  <a:pt x="3" y="2453"/>
                </a:lnTo>
                <a:lnTo>
                  <a:pt x="12" y="2426"/>
                </a:lnTo>
                <a:lnTo>
                  <a:pt x="27" y="2402"/>
                </a:lnTo>
                <a:lnTo>
                  <a:pt x="48" y="2383"/>
                </a:lnTo>
                <a:lnTo>
                  <a:pt x="71" y="2368"/>
                </a:lnTo>
                <a:lnTo>
                  <a:pt x="99" y="2358"/>
                </a:lnTo>
                <a:lnTo>
                  <a:pt x="128" y="2354"/>
                </a:lnTo>
                <a:lnTo>
                  <a:pt x="2973" y="2354"/>
                </a:lnTo>
                <a:lnTo>
                  <a:pt x="3961" y="77"/>
                </a:lnTo>
                <a:lnTo>
                  <a:pt x="3977" y="51"/>
                </a:lnTo>
                <a:lnTo>
                  <a:pt x="3997" y="29"/>
                </a:lnTo>
                <a:lnTo>
                  <a:pt x="4022" y="14"/>
                </a:lnTo>
                <a:lnTo>
                  <a:pt x="4049" y="3"/>
                </a:lnTo>
                <a:lnTo>
                  <a:pt x="4080" y="0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" name="Google Shape;407;p31"/>
          <p:cNvSpPr/>
          <p:nvPr/>
        </p:nvSpPr>
        <p:spPr>
          <a:xfrm>
            <a:off x="612822" y="724495"/>
            <a:ext cx="2013318" cy="13906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600" b="1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rPr>
              <a:t>01</a:t>
            </a:r>
            <a:endParaRPr sz="9600" b="1">
              <a:solidFill>
                <a:srgbClr val="3F3F3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" name="Google Shape;408;p31"/>
          <p:cNvSpPr/>
          <p:nvPr/>
        </p:nvSpPr>
        <p:spPr>
          <a:xfrm>
            <a:off x="3222596" y="724495"/>
            <a:ext cx="1822757" cy="13906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600" b="1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rPr>
              <a:t>02</a:t>
            </a:r>
            <a:endParaRPr sz="9600" b="1">
              <a:solidFill>
                <a:srgbClr val="3F3F3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" name="Google Shape;409;p31"/>
          <p:cNvSpPr/>
          <p:nvPr/>
        </p:nvSpPr>
        <p:spPr>
          <a:xfrm>
            <a:off x="5832373" y="724495"/>
            <a:ext cx="1860041" cy="13906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600" b="1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rPr>
              <a:t>03</a:t>
            </a:r>
            <a:endParaRPr sz="9600" b="1">
              <a:solidFill>
                <a:srgbClr val="3F3F3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24609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/>
          <p:cNvSpPr/>
          <p:nvPr/>
        </p:nvSpPr>
        <p:spPr>
          <a:xfrm>
            <a:off x="4073236" y="124687"/>
            <a:ext cx="1246909" cy="259773"/>
          </a:xfrm>
          <a:prstGeom prst="rect">
            <a:avLst/>
          </a:prstGeom>
          <a:solidFill>
            <a:srgbClr val="000000">
              <a:lumMod val="50000"/>
              <a:lumOff val="5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COVERY</a:t>
            </a:r>
          </a:p>
        </p:txBody>
      </p:sp>
      <p:sp>
        <p:nvSpPr>
          <p:cNvPr id="37" name="Rectangle 36"/>
          <p:cNvSpPr/>
          <p:nvPr/>
        </p:nvSpPr>
        <p:spPr>
          <a:xfrm>
            <a:off x="6567054" y="120997"/>
            <a:ext cx="1246909" cy="259773"/>
          </a:xfrm>
          <a:prstGeom prst="rect">
            <a:avLst/>
          </a:prstGeom>
          <a:solidFill>
            <a:srgbClr val="000000">
              <a:lumMod val="50000"/>
              <a:lumOff val="5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LEMENTATION</a:t>
            </a:r>
          </a:p>
        </p:txBody>
      </p:sp>
      <p:sp>
        <p:nvSpPr>
          <p:cNvPr id="38" name="Rectangle 37"/>
          <p:cNvSpPr/>
          <p:nvPr/>
        </p:nvSpPr>
        <p:spPr>
          <a:xfrm>
            <a:off x="7813963" y="120997"/>
            <a:ext cx="1246909" cy="259773"/>
          </a:xfrm>
          <a:prstGeom prst="rect">
            <a:avLst/>
          </a:prstGeom>
          <a:solidFill>
            <a:srgbClr val="000000">
              <a:lumMod val="50000"/>
              <a:lumOff val="5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ERATIONS</a:t>
            </a:r>
          </a:p>
        </p:txBody>
      </p:sp>
      <p:sp>
        <p:nvSpPr>
          <p:cNvPr id="39" name="Rectangle 38"/>
          <p:cNvSpPr/>
          <p:nvPr/>
        </p:nvSpPr>
        <p:spPr>
          <a:xfrm>
            <a:off x="5320145" y="122842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OLUTIONING</a:t>
            </a:r>
            <a:endParaRPr lang="en-US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2826327" y="122842"/>
            <a:ext cx="1246909" cy="259773"/>
          </a:xfrm>
          <a:prstGeom prst="rect">
            <a:avLst/>
          </a:prstGeom>
          <a:solidFill>
            <a:srgbClr val="FF0000">
              <a:lumMod val="60000"/>
              <a:lumOff val="4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EATION</a:t>
            </a:r>
          </a:p>
        </p:txBody>
      </p:sp>
      <p:grpSp>
        <p:nvGrpSpPr>
          <p:cNvPr id="45" name="Google Shape;376;p31"/>
          <p:cNvGrpSpPr/>
          <p:nvPr/>
        </p:nvGrpSpPr>
        <p:grpSpPr>
          <a:xfrm>
            <a:off x="767499" y="1064963"/>
            <a:ext cx="2514361" cy="3576196"/>
            <a:chOff x="1341912" y="1365662"/>
            <a:chExt cx="2458192" cy="4349338"/>
          </a:xfrm>
        </p:grpSpPr>
        <p:sp>
          <p:nvSpPr>
            <p:cNvPr id="54" name="Google Shape;377;p31"/>
            <p:cNvSpPr/>
            <p:nvPr/>
          </p:nvSpPr>
          <p:spPr>
            <a:xfrm>
              <a:off x="1341912" y="1365662"/>
              <a:ext cx="2458192" cy="181692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378;p31"/>
            <p:cNvSpPr/>
            <p:nvPr/>
          </p:nvSpPr>
          <p:spPr>
            <a:xfrm flipH="1">
              <a:off x="1341912" y="1365662"/>
              <a:ext cx="2458192" cy="1816925"/>
            </a:xfrm>
            <a:prstGeom prst="rtTriangle">
              <a:avLst/>
            </a:prstGeom>
            <a:solidFill>
              <a:srgbClr val="BF0000">
                <a:alpha val="69803"/>
              </a:srgbClr>
            </a:solidFill>
            <a:ln>
              <a:noFill/>
            </a:ln>
            <a:effectLst>
              <a:outerShdw blurRad="50800" dist="38100" dir="8100000" algn="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379;p31"/>
            <p:cNvSpPr/>
            <p:nvPr/>
          </p:nvSpPr>
          <p:spPr>
            <a:xfrm>
              <a:off x="1341912" y="3182586"/>
              <a:ext cx="2458192" cy="2532414"/>
            </a:xfrm>
            <a:prstGeom prst="rect">
              <a:avLst/>
            </a:prstGeom>
            <a:solidFill>
              <a:srgbClr val="595959"/>
            </a:solidFill>
            <a:ln>
              <a:noFill/>
            </a:ln>
            <a:effectLst>
              <a:outerShdw blurRad="50800" dist="38100" dir="8100000" algn="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PH" sz="1800" dirty="0" smtClean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Determine eligibility of process for RPA</a:t>
              </a:r>
              <a:endParaRPr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69" name="Google Shape;392;p31"/>
          <p:cNvGrpSpPr/>
          <p:nvPr/>
        </p:nvGrpSpPr>
        <p:grpSpPr>
          <a:xfrm>
            <a:off x="2638838" y="1908942"/>
            <a:ext cx="439225" cy="535000"/>
            <a:chOff x="1369" y="448"/>
            <a:chExt cx="858" cy="1253"/>
          </a:xfrm>
        </p:grpSpPr>
        <p:sp>
          <p:nvSpPr>
            <p:cNvPr id="70" name="Google Shape;393;p31"/>
            <p:cNvSpPr/>
            <p:nvPr/>
          </p:nvSpPr>
          <p:spPr>
            <a:xfrm>
              <a:off x="1561" y="1465"/>
              <a:ext cx="475" cy="94"/>
            </a:xfrm>
            <a:custGeom>
              <a:avLst/>
              <a:gdLst/>
              <a:ahLst/>
              <a:cxnLst/>
              <a:rect l="l" t="t" r="r" b="b"/>
              <a:pathLst>
                <a:path w="1425" h="281" extrusionOk="0">
                  <a:moveTo>
                    <a:pt x="179" y="0"/>
                  </a:moveTo>
                  <a:lnTo>
                    <a:pt x="1247" y="0"/>
                  </a:lnTo>
                  <a:lnTo>
                    <a:pt x="1283" y="3"/>
                  </a:lnTo>
                  <a:lnTo>
                    <a:pt x="1316" y="12"/>
                  </a:lnTo>
                  <a:lnTo>
                    <a:pt x="1346" y="24"/>
                  </a:lnTo>
                  <a:lnTo>
                    <a:pt x="1372" y="41"/>
                  </a:lnTo>
                  <a:lnTo>
                    <a:pt x="1395" y="62"/>
                  </a:lnTo>
                  <a:lnTo>
                    <a:pt x="1411" y="85"/>
                  </a:lnTo>
                  <a:lnTo>
                    <a:pt x="1422" y="112"/>
                  </a:lnTo>
                  <a:lnTo>
                    <a:pt x="1425" y="140"/>
                  </a:lnTo>
                  <a:lnTo>
                    <a:pt x="1422" y="169"/>
                  </a:lnTo>
                  <a:lnTo>
                    <a:pt x="1411" y="195"/>
                  </a:lnTo>
                  <a:lnTo>
                    <a:pt x="1395" y="219"/>
                  </a:lnTo>
                  <a:lnTo>
                    <a:pt x="1372" y="239"/>
                  </a:lnTo>
                  <a:lnTo>
                    <a:pt x="1346" y="257"/>
                  </a:lnTo>
                  <a:lnTo>
                    <a:pt x="1316" y="270"/>
                  </a:lnTo>
                  <a:lnTo>
                    <a:pt x="1283" y="279"/>
                  </a:lnTo>
                  <a:lnTo>
                    <a:pt x="1247" y="281"/>
                  </a:lnTo>
                  <a:lnTo>
                    <a:pt x="179" y="281"/>
                  </a:lnTo>
                  <a:lnTo>
                    <a:pt x="142" y="279"/>
                  </a:lnTo>
                  <a:lnTo>
                    <a:pt x="109" y="270"/>
                  </a:lnTo>
                  <a:lnTo>
                    <a:pt x="78" y="257"/>
                  </a:lnTo>
                  <a:lnTo>
                    <a:pt x="53" y="239"/>
                  </a:lnTo>
                  <a:lnTo>
                    <a:pt x="31" y="219"/>
                  </a:lnTo>
                  <a:lnTo>
                    <a:pt x="14" y="195"/>
                  </a:lnTo>
                  <a:lnTo>
                    <a:pt x="4" y="169"/>
                  </a:lnTo>
                  <a:lnTo>
                    <a:pt x="0" y="140"/>
                  </a:lnTo>
                  <a:lnTo>
                    <a:pt x="4" y="113"/>
                  </a:lnTo>
                  <a:lnTo>
                    <a:pt x="15" y="86"/>
                  </a:lnTo>
                  <a:lnTo>
                    <a:pt x="31" y="62"/>
                  </a:lnTo>
                  <a:lnTo>
                    <a:pt x="53" y="41"/>
                  </a:lnTo>
                  <a:lnTo>
                    <a:pt x="79" y="24"/>
                  </a:lnTo>
                  <a:lnTo>
                    <a:pt x="110" y="12"/>
                  </a:lnTo>
                  <a:lnTo>
                    <a:pt x="143" y="3"/>
                  </a:lnTo>
                  <a:lnTo>
                    <a:pt x="179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" name="Google Shape;394;p31"/>
            <p:cNvSpPr/>
            <p:nvPr/>
          </p:nvSpPr>
          <p:spPr>
            <a:xfrm>
              <a:off x="1561" y="1607"/>
              <a:ext cx="475" cy="94"/>
            </a:xfrm>
            <a:custGeom>
              <a:avLst/>
              <a:gdLst/>
              <a:ahLst/>
              <a:cxnLst/>
              <a:rect l="l" t="t" r="r" b="b"/>
              <a:pathLst>
                <a:path w="1425" h="281" extrusionOk="0">
                  <a:moveTo>
                    <a:pt x="179" y="0"/>
                  </a:moveTo>
                  <a:lnTo>
                    <a:pt x="1247" y="0"/>
                  </a:lnTo>
                  <a:lnTo>
                    <a:pt x="1283" y="3"/>
                  </a:lnTo>
                  <a:lnTo>
                    <a:pt x="1316" y="12"/>
                  </a:lnTo>
                  <a:lnTo>
                    <a:pt x="1346" y="24"/>
                  </a:lnTo>
                  <a:lnTo>
                    <a:pt x="1372" y="41"/>
                  </a:lnTo>
                  <a:lnTo>
                    <a:pt x="1395" y="62"/>
                  </a:lnTo>
                  <a:lnTo>
                    <a:pt x="1411" y="86"/>
                  </a:lnTo>
                  <a:lnTo>
                    <a:pt x="1422" y="113"/>
                  </a:lnTo>
                  <a:lnTo>
                    <a:pt x="1425" y="140"/>
                  </a:lnTo>
                  <a:lnTo>
                    <a:pt x="1422" y="169"/>
                  </a:lnTo>
                  <a:lnTo>
                    <a:pt x="1411" y="195"/>
                  </a:lnTo>
                  <a:lnTo>
                    <a:pt x="1395" y="219"/>
                  </a:lnTo>
                  <a:lnTo>
                    <a:pt x="1372" y="239"/>
                  </a:lnTo>
                  <a:lnTo>
                    <a:pt x="1346" y="257"/>
                  </a:lnTo>
                  <a:lnTo>
                    <a:pt x="1316" y="269"/>
                  </a:lnTo>
                  <a:lnTo>
                    <a:pt x="1283" y="279"/>
                  </a:lnTo>
                  <a:lnTo>
                    <a:pt x="1247" y="281"/>
                  </a:lnTo>
                  <a:lnTo>
                    <a:pt x="179" y="281"/>
                  </a:lnTo>
                  <a:lnTo>
                    <a:pt x="142" y="279"/>
                  </a:lnTo>
                  <a:lnTo>
                    <a:pt x="109" y="269"/>
                  </a:lnTo>
                  <a:lnTo>
                    <a:pt x="78" y="257"/>
                  </a:lnTo>
                  <a:lnTo>
                    <a:pt x="53" y="239"/>
                  </a:lnTo>
                  <a:lnTo>
                    <a:pt x="31" y="219"/>
                  </a:lnTo>
                  <a:lnTo>
                    <a:pt x="14" y="195"/>
                  </a:lnTo>
                  <a:lnTo>
                    <a:pt x="4" y="169"/>
                  </a:lnTo>
                  <a:lnTo>
                    <a:pt x="0" y="140"/>
                  </a:lnTo>
                  <a:lnTo>
                    <a:pt x="4" y="113"/>
                  </a:lnTo>
                  <a:lnTo>
                    <a:pt x="15" y="86"/>
                  </a:lnTo>
                  <a:lnTo>
                    <a:pt x="31" y="62"/>
                  </a:lnTo>
                  <a:lnTo>
                    <a:pt x="53" y="41"/>
                  </a:lnTo>
                  <a:lnTo>
                    <a:pt x="79" y="24"/>
                  </a:lnTo>
                  <a:lnTo>
                    <a:pt x="110" y="12"/>
                  </a:lnTo>
                  <a:lnTo>
                    <a:pt x="143" y="3"/>
                  </a:lnTo>
                  <a:lnTo>
                    <a:pt x="179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" name="Google Shape;395;p31"/>
            <p:cNvSpPr/>
            <p:nvPr/>
          </p:nvSpPr>
          <p:spPr>
            <a:xfrm>
              <a:off x="1369" y="448"/>
              <a:ext cx="858" cy="970"/>
            </a:xfrm>
            <a:custGeom>
              <a:avLst/>
              <a:gdLst/>
              <a:ahLst/>
              <a:cxnLst/>
              <a:rect l="l" t="t" r="r" b="b"/>
              <a:pathLst>
                <a:path w="2576" h="2909" extrusionOk="0">
                  <a:moveTo>
                    <a:pt x="1288" y="192"/>
                  </a:moveTo>
                  <a:lnTo>
                    <a:pt x="1199" y="196"/>
                  </a:lnTo>
                  <a:lnTo>
                    <a:pt x="1111" y="206"/>
                  </a:lnTo>
                  <a:lnTo>
                    <a:pt x="1025" y="223"/>
                  </a:lnTo>
                  <a:lnTo>
                    <a:pt x="942" y="247"/>
                  </a:lnTo>
                  <a:lnTo>
                    <a:pt x="862" y="278"/>
                  </a:lnTo>
                  <a:lnTo>
                    <a:pt x="785" y="314"/>
                  </a:lnTo>
                  <a:lnTo>
                    <a:pt x="711" y="357"/>
                  </a:lnTo>
                  <a:lnTo>
                    <a:pt x="641" y="404"/>
                  </a:lnTo>
                  <a:lnTo>
                    <a:pt x="576" y="457"/>
                  </a:lnTo>
                  <a:lnTo>
                    <a:pt x="514" y="513"/>
                  </a:lnTo>
                  <a:lnTo>
                    <a:pt x="456" y="575"/>
                  </a:lnTo>
                  <a:lnTo>
                    <a:pt x="403" y="642"/>
                  </a:lnTo>
                  <a:lnTo>
                    <a:pt x="356" y="712"/>
                  </a:lnTo>
                  <a:lnTo>
                    <a:pt x="315" y="786"/>
                  </a:lnTo>
                  <a:lnTo>
                    <a:pt x="278" y="863"/>
                  </a:lnTo>
                  <a:lnTo>
                    <a:pt x="248" y="944"/>
                  </a:lnTo>
                  <a:lnTo>
                    <a:pt x="224" y="1028"/>
                  </a:lnTo>
                  <a:lnTo>
                    <a:pt x="207" y="1113"/>
                  </a:lnTo>
                  <a:lnTo>
                    <a:pt x="195" y="1202"/>
                  </a:lnTo>
                  <a:lnTo>
                    <a:pt x="192" y="1291"/>
                  </a:lnTo>
                  <a:lnTo>
                    <a:pt x="194" y="1360"/>
                  </a:lnTo>
                  <a:lnTo>
                    <a:pt x="199" y="1425"/>
                  </a:lnTo>
                  <a:lnTo>
                    <a:pt x="207" y="1486"/>
                  </a:lnTo>
                  <a:lnTo>
                    <a:pt x="217" y="1542"/>
                  </a:lnTo>
                  <a:lnTo>
                    <a:pt x="230" y="1595"/>
                  </a:lnTo>
                  <a:lnTo>
                    <a:pt x="245" y="1646"/>
                  </a:lnTo>
                  <a:lnTo>
                    <a:pt x="262" y="1693"/>
                  </a:lnTo>
                  <a:lnTo>
                    <a:pt x="281" y="1739"/>
                  </a:lnTo>
                  <a:lnTo>
                    <a:pt x="301" y="1783"/>
                  </a:lnTo>
                  <a:lnTo>
                    <a:pt x="323" y="1825"/>
                  </a:lnTo>
                  <a:lnTo>
                    <a:pt x="345" y="1867"/>
                  </a:lnTo>
                  <a:lnTo>
                    <a:pt x="369" y="1908"/>
                  </a:lnTo>
                  <a:lnTo>
                    <a:pt x="392" y="1951"/>
                  </a:lnTo>
                  <a:lnTo>
                    <a:pt x="416" y="1992"/>
                  </a:lnTo>
                  <a:lnTo>
                    <a:pt x="439" y="2036"/>
                  </a:lnTo>
                  <a:lnTo>
                    <a:pt x="463" y="2080"/>
                  </a:lnTo>
                  <a:lnTo>
                    <a:pt x="486" y="2126"/>
                  </a:lnTo>
                  <a:lnTo>
                    <a:pt x="508" y="2174"/>
                  </a:lnTo>
                  <a:lnTo>
                    <a:pt x="529" y="2225"/>
                  </a:lnTo>
                  <a:lnTo>
                    <a:pt x="548" y="2279"/>
                  </a:lnTo>
                  <a:lnTo>
                    <a:pt x="567" y="2336"/>
                  </a:lnTo>
                  <a:lnTo>
                    <a:pt x="583" y="2397"/>
                  </a:lnTo>
                  <a:lnTo>
                    <a:pt x="598" y="2463"/>
                  </a:lnTo>
                  <a:lnTo>
                    <a:pt x="609" y="2533"/>
                  </a:lnTo>
                  <a:lnTo>
                    <a:pt x="618" y="2609"/>
                  </a:lnTo>
                  <a:lnTo>
                    <a:pt x="622" y="2633"/>
                  </a:lnTo>
                  <a:lnTo>
                    <a:pt x="630" y="2656"/>
                  </a:lnTo>
                  <a:lnTo>
                    <a:pt x="642" y="2677"/>
                  </a:lnTo>
                  <a:lnTo>
                    <a:pt x="660" y="2694"/>
                  </a:lnTo>
                  <a:lnTo>
                    <a:pt x="679" y="2707"/>
                  </a:lnTo>
                  <a:lnTo>
                    <a:pt x="702" y="2716"/>
                  </a:lnTo>
                  <a:lnTo>
                    <a:pt x="727" y="2718"/>
                  </a:lnTo>
                  <a:lnTo>
                    <a:pt x="1849" y="2718"/>
                  </a:lnTo>
                  <a:lnTo>
                    <a:pt x="1873" y="2716"/>
                  </a:lnTo>
                  <a:lnTo>
                    <a:pt x="1894" y="2709"/>
                  </a:lnTo>
                  <a:lnTo>
                    <a:pt x="1914" y="2698"/>
                  </a:lnTo>
                  <a:lnTo>
                    <a:pt x="1931" y="2683"/>
                  </a:lnTo>
                  <a:lnTo>
                    <a:pt x="1944" y="2664"/>
                  </a:lnTo>
                  <a:lnTo>
                    <a:pt x="1950" y="2648"/>
                  </a:lnTo>
                  <a:lnTo>
                    <a:pt x="1955" y="2630"/>
                  </a:lnTo>
                  <a:lnTo>
                    <a:pt x="1959" y="2609"/>
                  </a:lnTo>
                  <a:lnTo>
                    <a:pt x="1961" y="2587"/>
                  </a:lnTo>
                  <a:lnTo>
                    <a:pt x="1963" y="2568"/>
                  </a:lnTo>
                  <a:lnTo>
                    <a:pt x="1964" y="2549"/>
                  </a:lnTo>
                  <a:lnTo>
                    <a:pt x="1977" y="2477"/>
                  </a:lnTo>
                  <a:lnTo>
                    <a:pt x="1991" y="2410"/>
                  </a:lnTo>
                  <a:lnTo>
                    <a:pt x="2007" y="2348"/>
                  </a:lnTo>
                  <a:lnTo>
                    <a:pt x="2025" y="2289"/>
                  </a:lnTo>
                  <a:lnTo>
                    <a:pt x="2045" y="2234"/>
                  </a:lnTo>
                  <a:lnTo>
                    <a:pt x="2065" y="2182"/>
                  </a:lnTo>
                  <a:lnTo>
                    <a:pt x="2087" y="2133"/>
                  </a:lnTo>
                  <a:lnTo>
                    <a:pt x="2110" y="2085"/>
                  </a:lnTo>
                  <a:lnTo>
                    <a:pt x="2134" y="2041"/>
                  </a:lnTo>
                  <a:lnTo>
                    <a:pt x="2159" y="1997"/>
                  </a:lnTo>
                  <a:lnTo>
                    <a:pt x="2183" y="1954"/>
                  </a:lnTo>
                  <a:lnTo>
                    <a:pt x="2206" y="1913"/>
                  </a:lnTo>
                  <a:lnTo>
                    <a:pt x="2230" y="1870"/>
                  </a:lnTo>
                  <a:lnTo>
                    <a:pt x="2253" y="1828"/>
                  </a:lnTo>
                  <a:lnTo>
                    <a:pt x="2275" y="1785"/>
                  </a:lnTo>
                  <a:lnTo>
                    <a:pt x="2294" y="1741"/>
                  </a:lnTo>
                  <a:lnTo>
                    <a:pt x="2314" y="1695"/>
                  </a:lnTo>
                  <a:lnTo>
                    <a:pt x="2331" y="1647"/>
                  </a:lnTo>
                  <a:lnTo>
                    <a:pt x="2347" y="1596"/>
                  </a:lnTo>
                  <a:lnTo>
                    <a:pt x="2360" y="1542"/>
                  </a:lnTo>
                  <a:lnTo>
                    <a:pt x="2371" y="1486"/>
                  </a:lnTo>
                  <a:lnTo>
                    <a:pt x="2379" y="1425"/>
                  </a:lnTo>
                  <a:lnTo>
                    <a:pt x="2384" y="1359"/>
                  </a:lnTo>
                  <a:lnTo>
                    <a:pt x="2385" y="1290"/>
                  </a:lnTo>
                  <a:lnTo>
                    <a:pt x="2382" y="1200"/>
                  </a:lnTo>
                  <a:lnTo>
                    <a:pt x="2371" y="1112"/>
                  </a:lnTo>
                  <a:lnTo>
                    <a:pt x="2354" y="1027"/>
                  </a:lnTo>
                  <a:lnTo>
                    <a:pt x="2330" y="943"/>
                  </a:lnTo>
                  <a:lnTo>
                    <a:pt x="2299" y="863"/>
                  </a:lnTo>
                  <a:lnTo>
                    <a:pt x="2263" y="786"/>
                  </a:lnTo>
                  <a:lnTo>
                    <a:pt x="2221" y="711"/>
                  </a:lnTo>
                  <a:lnTo>
                    <a:pt x="2173" y="641"/>
                  </a:lnTo>
                  <a:lnTo>
                    <a:pt x="2122" y="575"/>
                  </a:lnTo>
                  <a:lnTo>
                    <a:pt x="2064" y="513"/>
                  </a:lnTo>
                  <a:lnTo>
                    <a:pt x="2002" y="456"/>
                  </a:lnTo>
                  <a:lnTo>
                    <a:pt x="1937" y="404"/>
                  </a:lnTo>
                  <a:lnTo>
                    <a:pt x="1867" y="357"/>
                  </a:lnTo>
                  <a:lnTo>
                    <a:pt x="1792" y="314"/>
                  </a:lnTo>
                  <a:lnTo>
                    <a:pt x="1715" y="278"/>
                  </a:lnTo>
                  <a:lnTo>
                    <a:pt x="1636" y="247"/>
                  </a:lnTo>
                  <a:lnTo>
                    <a:pt x="1552" y="223"/>
                  </a:lnTo>
                  <a:lnTo>
                    <a:pt x="1467" y="206"/>
                  </a:lnTo>
                  <a:lnTo>
                    <a:pt x="1378" y="196"/>
                  </a:lnTo>
                  <a:lnTo>
                    <a:pt x="1288" y="192"/>
                  </a:lnTo>
                  <a:close/>
                  <a:moveTo>
                    <a:pt x="1288" y="0"/>
                  </a:moveTo>
                  <a:lnTo>
                    <a:pt x="1385" y="3"/>
                  </a:lnTo>
                  <a:lnTo>
                    <a:pt x="1479" y="14"/>
                  </a:lnTo>
                  <a:lnTo>
                    <a:pt x="1571" y="31"/>
                  </a:lnTo>
                  <a:lnTo>
                    <a:pt x="1661" y="54"/>
                  </a:lnTo>
                  <a:lnTo>
                    <a:pt x="1747" y="84"/>
                  </a:lnTo>
                  <a:lnTo>
                    <a:pt x="1832" y="120"/>
                  </a:lnTo>
                  <a:lnTo>
                    <a:pt x="1913" y="161"/>
                  </a:lnTo>
                  <a:lnTo>
                    <a:pt x="1990" y="208"/>
                  </a:lnTo>
                  <a:lnTo>
                    <a:pt x="2064" y="260"/>
                  </a:lnTo>
                  <a:lnTo>
                    <a:pt x="2133" y="316"/>
                  </a:lnTo>
                  <a:lnTo>
                    <a:pt x="2200" y="379"/>
                  </a:lnTo>
                  <a:lnTo>
                    <a:pt x="2261" y="444"/>
                  </a:lnTo>
                  <a:lnTo>
                    <a:pt x="2317" y="514"/>
                  </a:lnTo>
                  <a:lnTo>
                    <a:pt x="2369" y="588"/>
                  </a:lnTo>
                  <a:lnTo>
                    <a:pt x="2416" y="666"/>
                  </a:lnTo>
                  <a:lnTo>
                    <a:pt x="2456" y="748"/>
                  </a:lnTo>
                  <a:lnTo>
                    <a:pt x="2492" y="832"/>
                  </a:lnTo>
                  <a:lnTo>
                    <a:pt x="2522" y="920"/>
                  </a:lnTo>
                  <a:lnTo>
                    <a:pt x="2545" y="1009"/>
                  </a:lnTo>
                  <a:lnTo>
                    <a:pt x="2562" y="1103"/>
                  </a:lnTo>
                  <a:lnTo>
                    <a:pt x="2572" y="1197"/>
                  </a:lnTo>
                  <a:lnTo>
                    <a:pt x="2576" y="1294"/>
                  </a:lnTo>
                  <a:lnTo>
                    <a:pt x="2573" y="1368"/>
                  </a:lnTo>
                  <a:lnTo>
                    <a:pt x="2569" y="1439"/>
                  </a:lnTo>
                  <a:lnTo>
                    <a:pt x="2561" y="1504"/>
                  </a:lnTo>
                  <a:lnTo>
                    <a:pt x="2550" y="1566"/>
                  </a:lnTo>
                  <a:lnTo>
                    <a:pt x="2537" y="1625"/>
                  </a:lnTo>
                  <a:lnTo>
                    <a:pt x="2522" y="1680"/>
                  </a:lnTo>
                  <a:lnTo>
                    <a:pt x="2504" y="1733"/>
                  </a:lnTo>
                  <a:lnTo>
                    <a:pt x="2485" y="1783"/>
                  </a:lnTo>
                  <a:lnTo>
                    <a:pt x="2465" y="1831"/>
                  </a:lnTo>
                  <a:lnTo>
                    <a:pt x="2444" y="1876"/>
                  </a:lnTo>
                  <a:lnTo>
                    <a:pt x="2422" y="1920"/>
                  </a:lnTo>
                  <a:lnTo>
                    <a:pt x="2400" y="1961"/>
                  </a:lnTo>
                  <a:lnTo>
                    <a:pt x="2377" y="2003"/>
                  </a:lnTo>
                  <a:lnTo>
                    <a:pt x="2355" y="2042"/>
                  </a:lnTo>
                  <a:lnTo>
                    <a:pt x="2330" y="2087"/>
                  </a:lnTo>
                  <a:lnTo>
                    <a:pt x="2304" y="2131"/>
                  </a:lnTo>
                  <a:lnTo>
                    <a:pt x="2280" y="2177"/>
                  </a:lnTo>
                  <a:lnTo>
                    <a:pt x="2257" y="2225"/>
                  </a:lnTo>
                  <a:lnTo>
                    <a:pt x="2236" y="2274"/>
                  </a:lnTo>
                  <a:lnTo>
                    <a:pt x="2215" y="2327"/>
                  </a:lnTo>
                  <a:lnTo>
                    <a:pt x="2196" y="2383"/>
                  </a:lnTo>
                  <a:lnTo>
                    <a:pt x="2180" y="2443"/>
                  </a:lnTo>
                  <a:lnTo>
                    <a:pt x="2167" y="2508"/>
                  </a:lnTo>
                  <a:lnTo>
                    <a:pt x="2155" y="2578"/>
                  </a:lnTo>
                  <a:lnTo>
                    <a:pt x="2155" y="2581"/>
                  </a:lnTo>
                  <a:lnTo>
                    <a:pt x="2154" y="2586"/>
                  </a:lnTo>
                  <a:lnTo>
                    <a:pt x="2153" y="2591"/>
                  </a:lnTo>
                  <a:lnTo>
                    <a:pt x="2153" y="2595"/>
                  </a:lnTo>
                  <a:lnTo>
                    <a:pt x="2150" y="2625"/>
                  </a:lnTo>
                  <a:lnTo>
                    <a:pt x="2145" y="2659"/>
                  </a:lnTo>
                  <a:lnTo>
                    <a:pt x="2137" y="2693"/>
                  </a:lnTo>
                  <a:lnTo>
                    <a:pt x="2125" y="2730"/>
                  </a:lnTo>
                  <a:lnTo>
                    <a:pt x="2107" y="2764"/>
                  </a:lnTo>
                  <a:lnTo>
                    <a:pt x="2085" y="2797"/>
                  </a:lnTo>
                  <a:lnTo>
                    <a:pt x="2059" y="2825"/>
                  </a:lnTo>
                  <a:lnTo>
                    <a:pt x="2030" y="2851"/>
                  </a:lnTo>
                  <a:lnTo>
                    <a:pt x="1998" y="2871"/>
                  </a:lnTo>
                  <a:lnTo>
                    <a:pt x="1963" y="2888"/>
                  </a:lnTo>
                  <a:lnTo>
                    <a:pt x="1926" y="2900"/>
                  </a:lnTo>
                  <a:lnTo>
                    <a:pt x="1887" y="2907"/>
                  </a:lnTo>
                  <a:lnTo>
                    <a:pt x="1848" y="2909"/>
                  </a:lnTo>
                  <a:lnTo>
                    <a:pt x="727" y="2909"/>
                  </a:lnTo>
                  <a:lnTo>
                    <a:pt x="685" y="2906"/>
                  </a:lnTo>
                  <a:lnTo>
                    <a:pt x="644" y="2897"/>
                  </a:lnTo>
                  <a:lnTo>
                    <a:pt x="604" y="2883"/>
                  </a:lnTo>
                  <a:lnTo>
                    <a:pt x="568" y="2863"/>
                  </a:lnTo>
                  <a:lnTo>
                    <a:pt x="534" y="2839"/>
                  </a:lnTo>
                  <a:lnTo>
                    <a:pt x="506" y="2810"/>
                  </a:lnTo>
                  <a:lnTo>
                    <a:pt x="479" y="2778"/>
                  </a:lnTo>
                  <a:lnTo>
                    <a:pt x="458" y="2743"/>
                  </a:lnTo>
                  <a:lnTo>
                    <a:pt x="442" y="2705"/>
                  </a:lnTo>
                  <a:lnTo>
                    <a:pt x="432" y="2663"/>
                  </a:lnTo>
                  <a:lnTo>
                    <a:pt x="426" y="2621"/>
                  </a:lnTo>
                  <a:lnTo>
                    <a:pt x="417" y="2549"/>
                  </a:lnTo>
                  <a:lnTo>
                    <a:pt x="406" y="2482"/>
                  </a:lnTo>
                  <a:lnTo>
                    <a:pt x="391" y="2421"/>
                  </a:lnTo>
                  <a:lnTo>
                    <a:pt x="375" y="2365"/>
                  </a:lnTo>
                  <a:lnTo>
                    <a:pt x="356" y="2312"/>
                  </a:lnTo>
                  <a:lnTo>
                    <a:pt x="337" y="2261"/>
                  </a:lnTo>
                  <a:lnTo>
                    <a:pt x="315" y="2214"/>
                  </a:lnTo>
                  <a:lnTo>
                    <a:pt x="293" y="2169"/>
                  </a:lnTo>
                  <a:lnTo>
                    <a:pt x="270" y="2125"/>
                  </a:lnTo>
                  <a:lnTo>
                    <a:pt x="246" y="2081"/>
                  </a:lnTo>
                  <a:lnTo>
                    <a:pt x="221" y="2038"/>
                  </a:lnTo>
                  <a:lnTo>
                    <a:pt x="199" y="1998"/>
                  </a:lnTo>
                  <a:lnTo>
                    <a:pt x="176" y="1958"/>
                  </a:lnTo>
                  <a:lnTo>
                    <a:pt x="154" y="1916"/>
                  </a:lnTo>
                  <a:lnTo>
                    <a:pt x="132" y="1872"/>
                  </a:lnTo>
                  <a:lnTo>
                    <a:pt x="110" y="1826"/>
                  </a:lnTo>
                  <a:lnTo>
                    <a:pt x="91" y="1779"/>
                  </a:lnTo>
                  <a:lnTo>
                    <a:pt x="71" y="1730"/>
                  </a:lnTo>
                  <a:lnTo>
                    <a:pt x="54" y="1677"/>
                  </a:lnTo>
                  <a:lnTo>
                    <a:pt x="39" y="1622"/>
                  </a:lnTo>
                  <a:lnTo>
                    <a:pt x="25" y="1563"/>
                  </a:lnTo>
                  <a:lnTo>
                    <a:pt x="15" y="1501"/>
                  </a:lnTo>
                  <a:lnTo>
                    <a:pt x="7" y="1434"/>
                  </a:lnTo>
                  <a:lnTo>
                    <a:pt x="2" y="1364"/>
                  </a:lnTo>
                  <a:lnTo>
                    <a:pt x="0" y="1290"/>
                  </a:lnTo>
                  <a:lnTo>
                    <a:pt x="3" y="1193"/>
                  </a:lnTo>
                  <a:lnTo>
                    <a:pt x="14" y="1099"/>
                  </a:lnTo>
                  <a:lnTo>
                    <a:pt x="31" y="1007"/>
                  </a:lnTo>
                  <a:lnTo>
                    <a:pt x="55" y="917"/>
                  </a:lnTo>
                  <a:lnTo>
                    <a:pt x="85" y="831"/>
                  </a:lnTo>
                  <a:lnTo>
                    <a:pt x="121" y="746"/>
                  </a:lnTo>
                  <a:lnTo>
                    <a:pt x="161" y="665"/>
                  </a:lnTo>
                  <a:lnTo>
                    <a:pt x="208" y="588"/>
                  </a:lnTo>
                  <a:lnTo>
                    <a:pt x="260" y="513"/>
                  </a:lnTo>
                  <a:lnTo>
                    <a:pt x="316" y="444"/>
                  </a:lnTo>
                  <a:lnTo>
                    <a:pt x="378" y="377"/>
                  </a:lnTo>
                  <a:lnTo>
                    <a:pt x="444" y="316"/>
                  </a:lnTo>
                  <a:lnTo>
                    <a:pt x="514" y="259"/>
                  </a:lnTo>
                  <a:lnTo>
                    <a:pt x="587" y="207"/>
                  </a:lnTo>
                  <a:lnTo>
                    <a:pt x="665" y="161"/>
                  </a:lnTo>
                  <a:lnTo>
                    <a:pt x="746" y="120"/>
                  </a:lnTo>
                  <a:lnTo>
                    <a:pt x="830" y="84"/>
                  </a:lnTo>
                  <a:lnTo>
                    <a:pt x="917" y="54"/>
                  </a:lnTo>
                  <a:lnTo>
                    <a:pt x="1007" y="31"/>
                  </a:lnTo>
                  <a:lnTo>
                    <a:pt x="1099" y="14"/>
                  </a:lnTo>
                  <a:lnTo>
                    <a:pt x="1193" y="3"/>
                  </a:lnTo>
                  <a:lnTo>
                    <a:pt x="1288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" name="Google Shape;396;p31"/>
            <p:cNvSpPr/>
            <p:nvPr/>
          </p:nvSpPr>
          <p:spPr>
            <a:xfrm>
              <a:off x="1656" y="622"/>
              <a:ext cx="287" cy="458"/>
            </a:xfrm>
            <a:custGeom>
              <a:avLst/>
              <a:gdLst/>
              <a:ahLst/>
              <a:cxnLst/>
              <a:rect l="l" t="t" r="r" b="b"/>
              <a:pathLst>
                <a:path w="860" h="1375" extrusionOk="0">
                  <a:moveTo>
                    <a:pt x="851" y="0"/>
                  </a:moveTo>
                  <a:lnTo>
                    <a:pt x="855" y="2"/>
                  </a:lnTo>
                  <a:lnTo>
                    <a:pt x="859" y="10"/>
                  </a:lnTo>
                  <a:lnTo>
                    <a:pt x="860" y="22"/>
                  </a:lnTo>
                  <a:lnTo>
                    <a:pt x="860" y="43"/>
                  </a:lnTo>
                  <a:lnTo>
                    <a:pt x="854" y="104"/>
                  </a:lnTo>
                  <a:lnTo>
                    <a:pt x="846" y="165"/>
                  </a:lnTo>
                  <a:lnTo>
                    <a:pt x="835" y="225"/>
                  </a:lnTo>
                  <a:lnTo>
                    <a:pt x="820" y="284"/>
                  </a:lnTo>
                  <a:lnTo>
                    <a:pt x="801" y="341"/>
                  </a:lnTo>
                  <a:lnTo>
                    <a:pt x="779" y="398"/>
                  </a:lnTo>
                  <a:lnTo>
                    <a:pt x="752" y="450"/>
                  </a:lnTo>
                  <a:lnTo>
                    <a:pt x="714" y="513"/>
                  </a:lnTo>
                  <a:lnTo>
                    <a:pt x="673" y="572"/>
                  </a:lnTo>
                  <a:lnTo>
                    <a:pt x="628" y="629"/>
                  </a:lnTo>
                  <a:lnTo>
                    <a:pt x="581" y="683"/>
                  </a:lnTo>
                  <a:lnTo>
                    <a:pt x="532" y="736"/>
                  </a:lnTo>
                  <a:lnTo>
                    <a:pt x="482" y="789"/>
                  </a:lnTo>
                  <a:lnTo>
                    <a:pt x="431" y="841"/>
                  </a:lnTo>
                  <a:lnTo>
                    <a:pt x="382" y="892"/>
                  </a:lnTo>
                  <a:lnTo>
                    <a:pt x="332" y="947"/>
                  </a:lnTo>
                  <a:lnTo>
                    <a:pt x="285" y="1001"/>
                  </a:lnTo>
                  <a:lnTo>
                    <a:pt x="238" y="1062"/>
                  </a:lnTo>
                  <a:lnTo>
                    <a:pt x="195" y="1126"/>
                  </a:lnTo>
                  <a:lnTo>
                    <a:pt x="156" y="1194"/>
                  </a:lnTo>
                  <a:lnTo>
                    <a:pt x="123" y="1265"/>
                  </a:lnTo>
                  <a:lnTo>
                    <a:pt x="95" y="1337"/>
                  </a:lnTo>
                  <a:lnTo>
                    <a:pt x="86" y="1355"/>
                  </a:lnTo>
                  <a:lnTo>
                    <a:pt x="77" y="1368"/>
                  </a:lnTo>
                  <a:lnTo>
                    <a:pt x="68" y="1375"/>
                  </a:lnTo>
                  <a:lnTo>
                    <a:pt x="59" y="1375"/>
                  </a:lnTo>
                  <a:lnTo>
                    <a:pt x="50" y="1369"/>
                  </a:lnTo>
                  <a:lnTo>
                    <a:pt x="41" y="1357"/>
                  </a:lnTo>
                  <a:lnTo>
                    <a:pt x="33" y="1339"/>
                  </a:lnTo>
                  <a:lnTo>
                    <a:pt x="18" y="1281"/>
                  </a:lnTo>
                  <a:lnTo>
                    <a:pt x="8" y="1223"/>
                  </a:lnTo>
                  <a:lnTo>
                    <a:pt x="1" y="1163"/>
                  </a:lnTo>
                  <a:lnTo>
                    <a:pt x="0" y="1103"/>
                  </a:lnTo>
                  <a:lnTo>
                    <a:pt x="2" y="1043"/>
                  </a:lnTo>
                  <a:lnTo>
                    <a:pt x="10" y="983"/>
                  </a:lnTo>
                  <a:lnTo>
                    <a:pt x="22" y="926"/>
                  </a:lnTo>
                  <a:lnTo>
                    <a:pt x="38" y="868"/>
                  </a:lnTo>
                  <a:lnTo>
                    <a:pt x="60" y="813"/>
                  </a:lnTo>
                  <a:lnTo>
                    <a:pt x="86" y="759"/>
                  </a:lnTo>
                  <a:lnTo>
                    <a:pt x="117" y="708"/>
                  </a:lnTo>
                  <a:lnTo>
                    <a:pt x="153" y="660"/>
                  </a:lnTo>
                  <a:lnTo>
                    <a:pt x="207" y="600"/>
                  </a:lnTo>
                  <a:lnTo>
                    <a:pt x="263" y="545"/>
                  </a:lnTo>
                  <a:lnTo>
                    <a:pt x="323" y="492"/>
                  </a:lnTo>
                  <a:lnTo>
                    <a:pt x="385" y="441"/>
                  </a:lnTo>
                  <a:lnTo>
                    <a:pt x="448" y="393"/>
                  </a:lnTo>
                  <a:lnTo>
                    <a:pt x="512" y="343"/>
                  </a:lnTo>
                  <a:lnTo>
                    <a:pt x="576" y="295"/>
                  </a:lnTo>
                  <a:lnTo>
                    <a:pt x="615" y="263"/>
                  </a:lnTo>
                  <a:lnTo>
                    <a:pt x="654" y="230"/>
                  </a:lnTo>
                  <a:lnTo>
                    <a:pt x="693" y="194"/>
                  </a:lnTo>
                  <a:lnTo>
                    <a:pt x="730" y="157"/>
                  </a:lnTo>
                  <a:lnTo>
                    <a:pt x="764" y="118"/>
                  </a:lnTo>
                  <a:lnTo>
                    <a:pt x="796" y="76"/>
                  </a:lnTo>
                  <a:lnTo>
                    <a:pt x="823" y="33"/>
                  </a:lnTo>
                  <a:lnTo>
                    <a:pt x="833" y="17"/>
                  </a:lnTo>
                  <a:lnTo>
                    <a:pt x="843" y="5"/>
                  </a:lnTo>
                  <a:lnTo>
                    <a:pt x="851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Google Shape;397;p31"/>
            <p:cNvSpPr/>
            <p:nvPr/>
          </p:nvSpPr>
          <p:spPr>
            <a:xfrm>
              <a:off x="1693" y="749"/>
              <a:ext cx="278" cy="521"/>
            </a:xfrm>
            <a:custGeom>
              <a:avLst/>
              <a:gdLst/>
              <a:ahLst/>
              <a:cxnLst/>
              <a:rect l="l" t="t" r="r" b="b"/>
              <a:pathLst>
                <a:path w="833" h="1563" extrusionOk="0">
                  <a:moveTo>
                    <a:pt x="788" y="0"/>
                  </a:moveTo>
                  <a:lnTo>
                    <a:pt x="796" y="0"/>
                  </a:lnTo>
                  <a:lnTo>
                    <a:pt x="803" y="7"/>
                  </a:lnTo>
                  <a:lnTo>
                    <a:pt x="808" y="20"/>
                  </a:lnTo>
                  <a:lnTo>
                    <a:pt x="813" y="38"/>
                  </a:lnTo>
                  <a:lnTo>
                    <a:pt x="825" y="113"/>
                  </a:lnTo>
                  <a:lnTo>
                    <a:pt x="831" y="188"/>
                  </a:lnTo>
                  <a:lnTo>
                    <a:pt x="833" y="263"/>
                  </a:lnTo>
                  <a:lnTo>
                    <a:pt x="827" y="336"/>
                  </a:lnTo>
                  <a:lnTo>
                    <a:pt x="819" y="397"/>
                  </a:lnTo>
                  <a:lnTo>
                    <a:pt x="806" y="456"/>
                  </a:lnTo>
                  <a:lnTo>
                    <a:pt x="789" y="513"/>
                  </a:lnTo>
                  <a:lnTo>
                    <a:pt x="766" y="567"/>
                  </a:lnTo>
                  <a:lnTo>
                    <a:pt x="740" y="618"/>
                  </a:lnTo>
                  <a:lnTo>
                    <a:pt x="710" y="667"/>
                  </a:lnTo>
                  <a:lnTo>
                    <a:pt x="675" y="714"/>
                  </a:lnTo>
                  <a:lnTo>
                    <a:pt x="637" y="759"/>
                  </a:lnTo>
                  <a:lnTo>
                    <a:pt x="596" y="801"/>
                  </a:lnTo>
                  <a:lnTo>
                    <a:pt x="551" y="842"/>
                  </a:lnTo>
                  <a:lnTo>
                    <a:pt x="504" y="881"/>
                  </a:lnTo>
                  <a:lnTo>
                    <a:pt x="460" y="912"/>
                  </a:lnTo>
                  <a:lnTo>
                    <a:pt x="413" y="942"/>
                  </a:lnTo>
                  <a:lnTo>
                    <a:pt x="365" y="968"/>
                  </a:lnTo>
                  <a:lnTo>
                    <a:pt x="317" y="995"/>
                  </a:lnTo>
                  <a:lnTo>
                    <a:pt x="268" y="1022"/>
                  </a:lnTo>
                  <a:lnTo>
                    <a:pt x="221" y="1050"/>
                  </a:lnTo>
                  <a:lnTo>
                    <a:pt x="175" y="1080"/>
                  </a:lnTo>
                  <a:lnTo>
                    <a:pt x="134" y="1113"/>
                  </a:lnTo>
                  <a:lnTo>
                    <a:pt x="113" y="1189"/>
                  </a:lnTo>
                  <a:lnTo>
                    <a:pt x="100" y="1266"/>
                  </a:lnTo>
                  <a:lnTo>
                    <a:pt x="94" y="1346"/>
                  </a:lnTo>
                  <a:lnTo>
                    <a:pt x="95" y="1424"/>
                  </a:lnTo>
                  <a:lnTo>
                    <a:pt x="103" y="1504"/>
                  </a:lnTo>
                  <a:lnTo>
                    <a:pt x="103" y="1520"/>
                  </a:lnTo>
                  <a:lnTo>
                    <a:pt x="99" y="1533"/>
                  </a:lnTo>
                  <a:lnTo>
                    <a:pt x="91" y="1545"/>
                  </a:lnTo>
                  <a:lnTo>
                    <a:pt x="82" y="1553"/>
                  </a:lnTo>
                  <a:lnTo>
                    <a:pt x="69" y="1560"/>
                  </a:lnTo>
                  <a:lnTo>
                    <a:pt x="57" y="1563"/>
                  </a:lnTo>
                  <a:lnTo>
                    <a:pt x="45" y="1563"/>
                  </a:lnTo>
                  <a:lnTo>
                    <a:pt x="33" y="1561"/>
                  </a:lnTo>
                  <a:lnTo>
                    <a:pt x="22" y="1554"/>
                  </a:lnTo>
                  <a:lnTo>
                    <a:pt x="15" y="1544"/>
                  </a:lnTo>
                  <a:lnTo>
                    <a:pt x="11" y="1529"/>
                  </a:lnTo>
                  <a:lnTo>
                    <a:pt x="3" y="1446"/>
                  </a:lnTo>
                  <a:lnTo>
                    <a:pt x="0" y="1363"/>
                  </a:lnTo>
                  <a:lnTo>
                    <a:pt x="5" y="1281"/>
                  </a:lnTo>
                  <a:lnTo>
                    <a:pt x="17" y="1201"/>
                  </a:lnTo>
                  <a:lnTo>
                    <a:pt x="35" y="1120"/>
                  </a:lnTo>
                  <a:lnTo>
                    <a:pt x="58" y="1042"/>
                  </a:lnTo>
                  <a:lnTo>
                    <a:pt x="79" y="982"/>
                  </a:lnTo>
                  <a:lnTo>
                    <a:pt x="100" y="923"/>
                  </a:lnTo>
                  <a:lnTo>
                    <a:pt x="127" y="866"/>
                  </a:lnTo>
                  <a:lnTo>
                    <a:pt x="157" y="810"/>
                  </a:lnTo>
                  <a:lnTo>
                    <a:pt x="189" y="757"/>
                  </a:lnTo>
                  <a:lnTo>
                    <a:pt x="226" y="707"/>
                  </a:lnTo>
                  <a:lnTo>
                    <a:pt x="266" y="660"/>
                  </a:lnTo>
                  <a:lnTo>
                    <a:pt x="312" y="612"/>
                  </a:lnTo>
                  <a:lnTo>
                    <a:pt x="359" y="564"/>
                  </a:lnTo>
                  <a:lnTo>
                    <a:pt x="406" y="516"/>
                  </a:lnTo>
                  <a:lnTo>
                    <a:pt x="454" y="469"/>
                  </a:lnTo>
                  <a:lnTo>
                    <a:pt x="503" y="421"/>
                  </a:lnTo>
                  <a:lnTo>
                    <a:pt x="549" y="371"/>
                  </a:lnTo>
                  <a:lnTo>
                    <a:pt x="594" y="320"/>
                  </a:lnTo>
                  <a:lnTo>
                    <a:pt x="635" y="267"/>
                  </a:lnTo>
                  <a:lnTo>
                    <a:pt x="674" y="214"/>
                  </a:lnTo>
                  <a:lnTo>
                    <a:pt x="710" y="158"/>
                  </a:lnTo>
                  <a:lnTo>
                    <a:pt x="740" y="98"/>
                  </a:lnTo>
                  <a:lnTo>
                    <a:pt x="765" y="37"/>
                  </a:lnTo>
                  <a:lnTo>
                    <a:pt x="773" y="19"/>
                  </a:lnTo>
                  <a:lnTo>
                    <a:pt x="781" y="6"/>
                  </a:lnTo>
                  <a:lnTo>
                    <a:pt x="788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4" name="Google Shape;407;p31"/>
          <p:cNvSpPr/>
          <p:nvPr/>
        </p:nvSpPr>
        <p:spPr>
          <a:xfrm>
            <a:off x="612822" y="724495"/>
            <a:ext cx="2013318" cy="13906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600" b="1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rPr>
              <a:t>01</a:t>
            </a:r>
            <a:endParaRPr sz="9600" b="1">
              <a:solidFill>
                <a:srgbClr val="3F3F3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41893" y="671844"/>
            <a:ext cx="4373961" cy="416600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599622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/>
          <p:cNvSpPr/>
          <p:nvPr/>
        </p:nvSpPr>
        <p:spPr>
          <a:xfrm>
            <a:off x="4073236" y="124687"/>
            <a:ext cx="1246909" cy="259773"/>
          </a:xfrm>
          <a:prstGeom prst="rect">
            <a:avLst/>
          </a:prstGeom>
          <a:solidFill>
            <a:srgbClr val="000000">
              <a:lumMod val="50000"/>
              <a:lumOff val="5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COVERY</a:t>
            </a:r>
          </a:p>
        </p:txBody>
      </p:sp>
      <p:sp>
        <p:nvSpPr>
          <p:cNvPr id="37" name="Rectangle 36"/>
          <p:cNvSpPr/>
          <p:nvPr/>
        </p:nvSpPr>
        <p:spPr>
          <a:xfrm>
            <a:off x="6567054" y="120997"/>
            <a:ext cx="1246909" cy="259773"/>
          </a:xfrm>
          <a:prstGeom prst="rect">
            <a:avLst/>
          </a:prstGeom>
          <a:solidFill>
            <a:srgbClr val="000000">
              <a:lumMod val="50000"/>
              <a:lumOff val="5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LEMENTATION</a:t>
            </a:r>
          </a:p>
        </p:txBody>
      </p:sp>
      <p:sp>
        <p:nvSpPr>
          <p:cNvPr id="38" name="Rectangle 37"/>
          <p:cNvSpPr/>
          <p:nvPr/>
        </p:nvSpPr>
        <p:spPr>
          <a:xfrm>
            <a:off x="7813963" y="120997"/>
            <a:ext cx="1246909" cy="259773"/>
          </a:xfrm>
          <a:prstGeom prst="rect">
            <a:avLst/>
          </a:prstGeom>
          <a:solidFill>
            <a:srgbClr val="000000">
              <a:lumMod val="50000"/>
              <a:lumOff val="5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ERATIONS</a:t>
            </a:r>
          </a:p>
        </p:txBody>
      </p:sp>
      <p:sp>
        <p:nvSpPr>
          <p:cNvPr id="39" name="Rectangle 38"/>
          <p:cNvSpPr/>
          <p:nvPr/>
        </p:nvSpPr>
        <p:spPr>
          <a:xfrm>
            <a:off x="5320145" y="122842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OLUTIONING</a:t>
            </a:r>
            <a:endParaRPr lang="en-US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2826327" y="122842"/>
            <a:ext cx="1246909" cy="259773"/>
          </a:xfrm>
          <a:prstGeom prst="rect">
            <a:avLst/>
          </a:prstGeom>
          <a:solidFill>
            <a:srgbClr val="FF0000">
              <a:lumMod val="60000"/>
              <a:lumOff val="4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EATION</a:t>
            </a:r>
          </a:p>
        </p:txBody>
      </p:sp>
      <p:grpSp>
        <p:nvGrpSpPr>
          <p:cNvPr id="65" name="Google Shape;388;p31"/>
          <p:cNvGrpSpPr/>
          <p:nvPr/>
        </p:nvGrpSpPr>
        <p:grpSpPr>
          <a:xfrm>
            <a:off x="3371998" y="1064963"/>
            <a:ext cx="2514361" cy="3576196"/>
            <a:chOff x="1341912" y="1365662"/>
            <a:chExt cx="2458192" cy="4349338"/>
          </a:xfrm>
        </p:grpSpPr>
        <p:sp>
          <p:nvSpPr>
            <p:cNvPr id="66" name="Google Shape;389;p31"/>
            <p:cNvSpPr/>
            <p:nvPr/>
          </p:nvSpPr>
          <p:spPr>
            <a:xfrm>
              <a:off x="1341912" y="1365662"/>
              <a:ext cx="2458192" cy="1816925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  <a:effectLst>
              <a:outerShdw blurRad="50800" dist="38100" dir="8100000" algn="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" name="Google Shape;390;p31"/>
            <p:cNvSpPr/>
            <p:nvPr/>
          </p:nvSpPr>
          <p:spPr>
            <a:xfrm flipH="1">
              <a:off x="1341912" y="1365662"/>
              <a:ext cx="2458192" cy="1816925"/>
            </a:xfrm>
            <a:prstGeom prst="rtTriangle">
              <a:avLst/>
            </a:prstGeom>
            <a:solidFill>
              <a:srgbClr val="527E21">
                <a:alpha val="69803"/>
              </a:srgbClr>
            </a:solidFill>
            <a:ln>
              <a:noFill/>
            </a:ln>
            <a:effectLst>
              <a:outerShdw blurRad="50800" dist="38100" dir="8100000" algn="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" name="Google Shape;391;p31"/>
            <p:cNvSpPr/>
            <p:nvPr/>
          </p:nvSpPr>
          <p:spPr>
            <a:xfrm>
              <a:off x="1341912" y="3182586"/>
              <a:ext cx="2458192" cy="2532414"/>
            </a:xfrm>
            <a:prstGeom prst="rect">
              <a:avLst/>
            </a:prstGeom>
            <a:solidFill>
              <a:srgbClr val="595959"/>
            </a:solidFill>
            <a:ln>
              <a:noFill/>
            </a:ln>
            <a:effectLst>
              <a:outerShdw blurRad="50800" dist="38100" dir="8100000" algn="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PH" sz="1800" dirty="0" smtClean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Determine process complexity</a:t>
              </a:r>
              <a:endParaRPr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5" name="Google Shape;398;p31"/>
          <p:cNvSpPr/>
          <p:nvPr/>
        </p:nvSpPr>
        <p:spPr>
          <a:xfrm>
            <a:off x="5134451" y="1936554"/>
            <a:ext cx="582772" cy="486074"/>
          </a:xfrm>
          <a:custGeom>
            <a:avLst/>
            <a:gdLst/>
            <a:ahLst/>
            <a:cxnLst/>
            <a:rect l="l" t="t" r="r" b="b"/>
            <a:pathLst>
              <a:path w="4444" h="4434" extrusionOk="0">
                <a:moveTo>
                  <a:pt x="2210" y="1221"/>
                </a:moveTo>
                <a:lnTo>
                  <a:pt x="2118" y="1225"/>
                </a:lnTo>
                <a:lnTo>
                  <a:pt x="2030" y="1237"/>
                </a:lnTo>
                <a:lnTo>
                  <a:pt x="1944" y="1256"/>
                </a:lnTo>
                <a:lnTo>
                  <a:pt x="1861" y="1283"/>
                </a:lnTo>
                <a:lnTo>
                  <a:pt x="1782" y="1317"/>
                </a:lnTo>
                <a:lnTo>
                  <a:pt x="1706" y="1356"/>
                </a:lnTo>
                <a:lnTo>
                  <a:pt x="1634" y="1404"/>
                </a:lnTo>
                <a:lnTo>
                  <a:pt x="1567" y="1456"/>
                </a:lnTo>
                <a:lnTo>
                  <a:pt x="1505" y="1513"/>
                </a:lnTo>
                <a:lnTo>
                  <a:pt x="1446" y="1575"/>
                </a:lnTo>
                <a:lnTo>
                  <a:pt x="1395" y="1643"/>
                </a:lnTo>
                <a:lnTo>
                  <a:pt x="1348" y="1715"/>
                </a:lnTo>
                <a:lnTo>
                  <a:pt x="1308" y="1790"/>
                </a:lnTo>
                <a:lnTo>
                  <a:pt x="1275" y="1870"/>
                </a:lnTo>
                <a:lnTo>
                  <a:pt x="1248" y="1953"/>
                </a:lnTo>
                <a:lnTo>
                  <a:pt x="1229" y="2038"/>
                </a:lnTo>
                <a:lnTo>
                  <a:pt x="1216" y="2127"/>
                </a:lnTo>
                <a:lnTo>
                  <a:pt x="1212" y="2218"/>
                </a:lnTo>
                <a:lnTo>
                  <a:pt x="1216" y="2307"/>
                </a:lnTo>
                <a:lnTo>
                  <a:pt x="1229" y="2395"/>
                </a:lnTo>
                <a:lnTo>
                  <a:pt x="1248" y="2481"/>
                </a:lnTo>
                <a:lnTo>
                  <a:pt x="1275" y="2564"/>
                </a:lnTo>
                <a:lnTo>
                  <a:pt x="1308" y="2644"/>
                </a:lnTo>
                <a:lnTo>
                  <a:pt x="1348" y="2719"/>
                </a:lnTo>
                <a:lnTo>
                  <a:pt x="1395" y="2791"/>
                </a:lnTo>
                <a:lnTo>
                  <a:pt x="1446" y="2859"/>
                </a:lnTo>
                <a:lnTo>
                  <a:pt x="1505" y="2921"/>
                </a:lnTo>
                <a:lnTo>
                  <a:pt x="1567" y="2978"/>
                </a:lnTo>
                <a:lnTo>
                  <a:pt x="1634" y="3031"/>
                </a:lnTo>
                <a:lnTo>
                  <a:pt x="1706" y="3077"/>
                </a:lnTo>
                <a:lnTo>
                  <a:pt x="1782" y="3117"/>
                </a:lnTo>
                <a:lnTo>
                  <a:pt x="1861" y="3151"/>
                </a:lnTo>
                <a:lnTo>
                  <a:pt x="1944" y="3178"/>
                </a:lnTo>
                <a:lnTo>
                  <a:pt x="2030" y="3197"/>
                </a:lnTo>
                <a:lnTo>
                  <a:pt x="2118" y="3209"/>
                </a:lnTo>
                <a:lnTo>
                  <a:pt x="2210" y="3213"/>
                </a:lnTo>
                <a:lnTo>
                  <a:pt x="2301" y="3209"/>
                </a:lnTo>
                <a:lnTo>
                  <a:pt x="2389" y="3197"/>
                </a:lnTo>
                <a:lnTo>
                  <a:pt x="2475" y="3178"/>
                </a:lnTo>
                <a:lnTo>
                  <a:pt x="2558" y="3151"/>
                </a:lnTo>
                <a:lnTo>
                  <a:pt x="2637" y="3117"/>
                </a:lnTo>
                <a:lnTo>
                  <a:pt x="2713" y="3077"/>
                </a:lnTo>
                <a:lnTo>
                  <a:pt x="2785" y="3031"/>
                </a:lnTo>
                <a:lnTo>
                  <a:pt x="2852" y="2978"/>
                </a:lnTo>
                <a:lnTo>
                  <a:pt x="2914" y="2921"/>
                </a:lnTo>
                <a:lnTo>
                  <a:pt x="2973" y="2859"/>
                </a:lnTo>
                <a:lnTo>
                  <a:pt x="3025" y="2791"/>
                </a:lnTo>
                <a:lnTo>
                  <a:pt x="3071" y="2719"/>
                </a:lnTo>
                <a:lnTo>
                  <a:pt x="3112" y="2644"/>
                </a:lnTo>
                <a:lnTo>
                  <a:pt x="3144" y="2564"/>
                </a:lnTo>
                <a:lnTo>
                  <a:pt x="3172" y="2481"/>
                </a:lnTo>
                <a:lnTo>
                  <a:pt x="3192" y="2395"/>
                </a:lnTo>
                <a:lnTo>
                  <a:pt x="3203" y="2307"/>
                </a:lnTo>
                <a:lnTo>
                  <a:pt x="3207" y="2218"/>
                </a:lnTo>
                <a:lnTo>
                  <a:pt x="3203" y="2127"/>
                </a:lnTo>
                <a:lnTo>
                  <a:pt x="3192" y="2038"/>
                </a:lnTo>
                <a:lnTo>
                  <a:pt x="3172" y="1953"/>
                </a:lnTo>
                <a:lnTo>
                  <a:pt x="3144" y="1870"/>
                </a:lnTo>
                <a:lnTo>
                  <a:pt x="3112" y="1790"/>
                </a:lnTo>
                <a:lnTo>
                  <a:pt x="3071" y="1715"/>
                </a:lnTo>
                <a:lnTo>
                  <a:pt x="3025" y="1643"/>
                </a:lnTo>
                <a:lnTo>
                  <a:pt x="2973" y="1575"/>
                </a:lnTo>
                <a:lnTo>
                  <a:pt x="2914" y="1513"/>
                </a:lnTo>
                <a:lnTo>
                  <a:pt x="2852" y="1456"/>
                </a:lnTo>
                <a:lnTo>
                  <a:pt x="2785" y="1404"/>
                </a:lnTo>
                <a:lnTo>
                  <a:pt x="2713" y="1356"/>
                </a:lnTo>
                <a:lnTo>
                  <a:pt x="2637" y="1317"/>
                </a:lnTo>
                <a:lnTo>
                  <a:pt x="2558" y="1283"/>
                </a:lnTo>
                <a:lnTo>
                  <a:pt x="2475" y="1256"/>
                </a:lnTo>
                <a:lnTo>
                  <a:pt x="2389" y="1237"/>
                </a:lnTo>
                <a:lnTo>
                  <a:pt x="2301" y="1225"/>
                </a:lnTo>
                <a:lnTo>
                  <a:pt x="2210" y="1221"/>
                </a:lnTo>
                <a:close/>
                <a:moveTo>
                  <a:pt x="1728" y="0"/>
                </a:moveTo>
                <a:lnTo>
                  <a:pt x="2691" y="0"/>
                </a:lnTo>
                <a:lnTo>
                  <a:pt x="2691" y="619"/>
                </a:lnTo>
                <a:lnTo>
                  <a:pt x="2796" y="654"/>
                </a:lnTo>
                <a:lnTo>
                  <a:pt x="2898" y="696"/>
                </a:lnTo>
                <a:lnTo>
                  <a:pt x="2997" y="747"/>
                </a:lnTo>
                <a:lnTo>
                  <a:pt x="3393" y="350"/>
                </a:lnTo>
                <a:lnTo>
                  <a:pt x="3444" y="301"/>
                </a:lnTo>
                <a:lnTo>
                  <a:pt x="3494" y="350"/>
                </a:lnTo>
                <a:lnTo>
                  <a:pt x="4075" y="930"/>
                </a:lnTo>
                <a:lnTo>
                  <a:pt x="4124" y="980"/>
                </a:lnTo>
                <a:lnTo>
                  <a:pt x="4075" y="1031"/>
                </a:lnTo>
                <a:lnTo>
                  <a:pt x="3680" y="1424"/>
                </a:lnTo>
                <a:lnTo>
                  <a:pt x="3720" y="1502"/>
                </a:lnTo>
                <a:lnTo>
                  <a:pt x="3755" y="1583"/>
                </a:lnTo>
                <a:lnTo>
                  <a:pt x="3787" y="1665"/>
                </a:lnTo>
                <a:lnTo>
                  <a:pt x="3814" y="1748"/>
                </a:lnTo>
                <a:lnTo>
                  <a:pt x="4444" y="1748"/>
                </a:lnTo>
                <a:lnTo>
                  <a:pt x="4444" y="2709"/>
                </a:lnTo>
                <a:lnTo>
                  <a:pt x="4373" y="2709"/>
                </a:lnTo>
                <a:lnTo>
                  <a:pt x="4373" y="2709"/>
                </a:lnTo>
                <a:lnTo>
                  <a:pt x="3807" y="2709"/>
                </a:lnTo>
                <a:lnTo>
                  <a:pt x="3772" y="2811"/>
                </a:lnTo>
                <a:lnTo>
                  <a:pt x="3729" y="2912"/>
                </a:lnTo>
                <a:lnTo>
                  <a:pt x="3680" y="3009"/>
                </a:lnTo>
                <a:lnTo>
                  <a:pt x="4124" y="3454"/>
                </a:lnTo>
                <a:lnTo>
                  <a:pt x="4075" y="3504"/>
                </a:lnTo>
                <a:lnTo>
                  <a:pt x="3494" y="4084"/>
                </a:lnTo>
                <a:lnTo>
                  <a:pt x="3444" y="4133"/>
                </a:lnTo>
                <a:lnTo>
                  <a:pt x="2997" y="3688"/>
                </a:lnTo>
                <a:lnTo>
                  <a:pt x="2906" y="3733"/>
                </a:lnTo>
                <a:lnTo>
                  <a:pt x="2811" y="3774"/>
                </a:lnTo>
                <a:lnTo>
                  <a:pt x="2714" y="3808"/>
                </a:lnTo>
                <a:lnTo>
                  <a:pt x="2714" y="4434"/>
                </a:lnTo>
                <a:lnTo>
                  <a:pt x="1752" y="4434"/>
                </a:lnTo>
                <a:lnTo>
                  <a:pt x="1752" y="3822"/>
                </a:lnTo>
                <a:lnTo>
                  <a:pt x="1644" y="3786"/>
                </a:lnTo>
                <a:lnTo>
                  <a:pt x="1539" y="3746"/>
                </a:lnTo>
                <a:lnTo>
                  <a:pt x="1437" y="3697"/>
                </a:lnTo>
                <a:lnTo>
                  <a:pt x="1049" y="4084"/>
                </a:lnTo>
                <a:lnTo>
                  <a:pt x="999" y="4133"/>
                </a:lnTo>
                <a:lnTo>
                  <a:pt x="950" y="4084"/>
                </a:lnTo>
                <a:lnTo>
                  <a:pt x="369" y="3504"/>
                </a:lnTo>
                <a:lnTo>
                  <a:pt x="318" y="3454"/>
                </a:lnTo>
                <a:lnTo>
                  <a:pt x="369" y="3405"/>
                </a:lnTo>
                <a:lnTo>
                  <a:pt x="748" y="3024"/>
                </a:lnTo>
                <a:lnTo>
                  <a:pt x="705" y="2943"/>
                </a:lnTo>
                <a:lnTo>
                  <a:pt x="667" y="2859"/>
                </a:lnTo>
                <a:lnTo>
                  <a:pt x="634" y="2773"/>
                </a:lnTo>
                <a:lnTo>
                  <a:pt x="605" y="2686"/>
                </a:lnTo>
                <a:lnTo>
                  <a:pt x="0" y="2686"/>
                </a:lnTo>
                <a:lnTo>
                  <a:pt x="0" y="1725"/>
                </a:lnTo>
                <a:lnTo>
                  <a:pt x="612" y="1725"/>
                </a:lnTo>
                <a:lnTo>
                  <a:pt x="650" y="1617"/>
                </a:lnTo>
                <a:lnTo>
                  <a:pt x="695" y="1511"/>
                </a:lnTo>
                <a:lnTo>
                  <a:pt x="748" y="1409"/>
                </a:lnTo>
                <a:lnTo>
                  <a:pt x="369" y="1031"/>
                </a:lnTo>
                <a:lnTo>
                  <a:pt x="318" y="980"/>
                </a:lnTo>
                <a:lnTo>
                  <a:pt x="999" y="301"/>
                </a:lnTo>
                <a:lnTo>
                  <a:pt x="1049" y="350"/>
                </a:lnTo>
                <a:lnTo>
                  <a:pt x="1437" y="737"/>
                </a:lnTo>
                <a:lnTo>
                  <a:pt x="1532" y="692"/>
                </a:lnTo>
                <a:lnTo>
                  <a:pt x="1629" y="653"/>
                </a:lnTo>
                <a:lnTo>
                  <a:pt x="1728" y="619"/>
                </a:lnTo>
                <a:lnTo>
                  <a:pt x="1728" y="0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" name="Google Shape;408;p31"/>
          <p:cNvSpPr/>
          <p:nvPr/>
        </p:nvSpPr>
        <p:spPr>
          <a:xfrm>
            <a:off x="3222596" y="724495"/>
            <a:ext cx="1822757" cy="13906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600" b="1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rPr>
              <a:t>02</a:t>
            </a:r>
            <a:endParaRPr sz="9600" b="1">
              <a:solidFill>
                <a:srgbClr val="3F3F3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9" name="Google Shape;173;p27"/>
          <p:cNvSpPr/>
          <p:nvPr/>
        </p:nvSpPr>
        <p:spPr>
          <a:xfrm>
            <a:off x="1162627" y="860118"/>
            <a:ext cx="1878978" cy="4675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algn="r"/>
            <a:r>
              <a:rPr lang="en-US" sz="1200" dirty="0" smtClean="0">
                <a:solidFill>
                  <a:schemeClr val="lt1"/>
                </a:solidFill>
              </a:rPr>
              <a:t>This will contribute to the logic needed for the robot</a:t>
            </a:r>
            <a:endParaRPr sz="12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1" name="Google Shape;175;p27"/>
          <p:cNvSpPr/>
          <p:nvPr/>
        </p:nvSpPr>
        <p:spPr>
          <a:xfrm>
            <a:off x="8289" y="1383642"/>
            <a:ext cx="3191953" cy="494770"/>
          </a:xfrm>
          <a:custGeom>
            <a:avLst/>
            <a:gdLst/>
            <a:ahLst/>
            <a:cxnLst/>
            <a:rect l="l" t="t" r="r" b="b"/>
            <a:pathLst>
              <a:path w="9214" h="1457" extrusionOk="0">
                <a:moveTo>
                  <a:pt x="9214" y="351"/>
                </a:moveTo>
                <a:cubicBezTo>
                  <a:pt x="9214" y="1106"/>
                  <a:pt x="9214" y="1106"/>
                  <a:pt x="9214" y="1106"/>
                </a:cubicBezTo>
                <a:cubicBezTo>
                  <a:pt x="9214" y="1300"/>
                  <a:pt x="9057" y="1457"/>
                  <a:pt x="8863" y="1457"/>
                </a:cubicBezTo>
                <a:cubicBezTo>
                  <a:pt x="351" y="1457"/>
                  <a:pt x="351" y="1457"/>
                  <a:pt x="351" y="1457"/>
                </a:cubicBezTo>
                <a:cubicBezTo>
                  <a:pt x="158" y="1457"/>
                  <a:pt x="0" y="1300"/>
                  <a:pt x="0" y="1106"/>
                </a:cubicBezTo>
                <a:cubicBezTo>
                  <a:pt x="0" y="351"/>
                  <a:pt x="0" y="351"/>
                  <a:pt x="0" y="351"/>
                </a:cubicBezTo>
                <a:cubicBezTo>
                  <a:pt x="0" y="157"/>
                  <a:pt x="158" y="0"/>
                  <a:pt x="351" y="0"/>
                </a:cubicBezTo>
                <a:cubicBezTo>
                  <a:pt x="8863" y="0"/>
                  <a:pt x="8863" y="0"/>
                  <a:pt x="8863" y="0"/>
                </a:cubicBezTo>
                <a:cubicBezTo>
                  <a:pt x="9057" y="0"/>
                  <a:pt x="9214" y="157"/>
                  <a:pt x="9214" y="351"/>
                </a:cubicBezTo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72" name="Google Shape;176;p27"/>
          <p:cNvPicPr preferRelativeResize="0"/>
          <p:nvPr/>
        </p:nvPicPr>
        <p:blipFill rotWithShape="1">
          <a:blip r:embed="rId3">
            <a:alphaModFix/>
          </a:blip>
          <a:srcRect r="51837"/>
          <a:stretch/>
        </p:blipFill>
        <p:spPr>
          <a:xfrm rot="16200000" flipH="1">
            <a:off x="1146662" y="1423762"/>
            <a:ext cx="539643" cy="375543"/>
          </a:xfrm>
          <a:prstGeom prst="rect">
            <a:avLst/>
          </a:prstGeom>
          <a:noFill/>
          <a:ln>
            <a:noFill/>
          </a:ln>
        </p:spPr>
      </p:pic>
      <p:pic>
        <p:nvPicPr>
          <p:cNvPr id="173" name="Google Shape;177;p27"/>
          <p:cNvPicPr preferRelativeResize="0"/>
          <p:nvPr/>
        </p:nvPicPr>
        <p:blipFill rotWithShape="1">
          <a:blip r:embed="rId3">
            <a:alphaModFix/>
          </a:blip>
          <a:srcRect r="51837"/>
          <a:stretch/>
        </p:blipFill>
        <p:spPr>
          <a:xfrm rot="5400000">
            <a:off x="-136026" y="1423763"/>
            <a:ext cx="539643" cy="375543"/>
          </a:xfrm>
          <a:prstGeom prst="rect">
            <a:avLst/>
          </a:prstGeom>
          <a:noFill/>
          <a:ln>
            <a:noFill/>
          </a:ln>
        </p:spPr>
      </p:pic>
      <p:sp>
        <p:nvSpPr>
          <p:cNvPr id="176" name="Google Shape;179;p27"/>
          <p:cNvSpPr/>
          <p:nvPr/>
        </p:nvSpPr>
        <p:spPr>
          <a:xfrm>
            <a:off x="321812" y="1084897"/>
            <a:ext cx="911347" cy="796459"/>
          </a:xfrm>
          <a:custGeom>
            <a:avLst/>
            <a:gdLst/>
            <a:ahLst/>
            <a:cxnLst/>
            <a:rect l="l" t="t" r="r" b="b"/>
            <a:pathLst>
              <a:path w="2630" h="2347" extrusionOk="0">
                <a:moveTo>
                  <a:pt x="2630" y="617"/>
                </a:moveTo>
                <a:cubicBezTo>
                  <a:pt x="2630" y="2181"/>
                  <a:pt x="2630" y="2181"/>
                  <a:pt x="2630" y="2181"/>
                </a:cubicBezTo>
                <a:cubicBezTo>
                  <a:pt x="2630" y="2239"/>
                  <a:pt x="2622" y="2294"/>
                  <a:pt x="2607" y="2347"/>
                </a:cubicBezTo>
                <a:cubicBezTo>
                  <a:pt x="23" y="2347"/>
                  <a:pt x="23" y="2347"/>
                  <a:pt x="23" y="2347"/>
                </a:cubicBezTo>
                <a:cubicBezTo>
                  <a:pt x="8" y="2294"/>
                  <a:pt x="0" y="2239"/>
                  <a:pt x="0" y="2181"/>
                </a:cubicBezTo>
                <a:cubicBezTo>
                  <a:pt x="0" y="617"/>
                  <a:pt x="0" y="617"/>
                  <a:pt x="0" y="617"/>
                </a:cubicBezTo>
                <a:cubicBezTo>
                  <a:pt x="0" y="276"/>
                  <a:pt x="277" y="0"/>
                  <a:pt x="617" y="0"/>
                </a:cubicBezTo>
                <a:cubicBezTo>
                  <a:pt x="2013" y="0"/>
                  <a:pt x="2013" y="0"/>
                  <a:pt x="2013" y="0"/>
                </a:cubicBezTo>
                <a:cubicBezTo>
                  <a:pt x="2354" y="0"/>
                  <a:pt x="2630" y="276"/>
                  <a:pt x="2630" y="617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5" name="Google Shape;183;p27"/>
          <p:cNvSpPr/>
          <p:nvPr/>
        </p:nvSpPr>
        <p:spPr>
          <a:xfrm>
            <a:off x="1416483" y="1503412"/>
            <a:ext cx="1703926" cy="2552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algn="ctr"/>
            <a:r>
              <a:rPr lang="en-US" sz="1200" dirty="0" smtClean="0">
                <a:solidFill>
                  <a:schemeClr val="lt1"/>
                </a:solidFill>
              </a:rPr>
              <a:t>Data Input Type</a:t>
            </a:r>
            <a:endParaRPr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80" name="Google Shape;184;p27"/>
          <p:cNvGrpSpPr/>
          <p:nvPr/>
        </p:nvGrpSpPr>
        <p:grpSpPr>
          <a:xfrm>
            <a:off x="5952047" y="2168887"/>
            <a:ext cx="3191953" cy="494770"/>
            <a:chOff x="3893497" y="2651377"/>
            <a:chExt cx="4525963" cy="715963"/>
          </a:xfrm>
        </p:grpSpPr>
        <p:sp>
          <p:nvSpPr>
            <p:cNvPr id="181" name="Google Shape;185;p27"/>
            <p:cNvSpPr/>
            <p:nvPr/>
          </p:nvSpPr>
          <p:spPr>
            <a:xfrm flipH="1">
              <a:off x="3893497" y="2651377"/>
              <a:ext cx="4525963" cy="715963"/>
            </a:xfrm>
            <a:custGeom>
              <a:avLst/>
              <a:gdLst/>
              <a:ahLst/>
              <a:cxnLst/>
              <a:rect l="l" t="t" r="r" b="b"/>
              <a:pathLst>
                <a:path w="9214" h="1457" extrusionOk="0">
                  <a:moveTo>
                    <a:pt x="9214" y="351"/>
                  </a:moveTo>
                  <a:cubicBezTo>
                    <a:pt x="9214" y="1106"/>
                    <a:pt x="9214" y="1106"/>
                    <a:pt x="9214" y="1106"/>
                  </a:cubicBezTo>
                  <a:cubicBezTo>
                    <a:pt x="9214" y="1300"/>
                    <a:pt x="9057" y="1457"/>
                    <a:pt x="8863" y="1457"/>
                  </a:cubicBezTo>
                  <a:cubicBezTo>
                    <a:pt x="351" y="1457"/>
                    <a:pt x="351" y="1457"/>
                    <a:pt x="351" y="1457"/>
                  </a:cubicBezTo>
                  <a:cubicBezTo>
                    <a:pt x="158" y="1457"/>
                    <a:pt x="0" y="1300"/>
                    <a:pt x="0" y="1106"/>
                  </a:cubicBezTo>
                  <a:cubicBezTo>
                    <a:pt x="0" y="351"/>
                    <a:pt x="0" y="351"/>
                    <a:pt x="0" y="351"/>
                  </a:cubicBezTo>
                  <a:cubicBezTo>
                    <a:pt x="0" y="157"/>
                    <a:pt x="158" y="0"/>
                    <a:pt x="351" y="0"/>
                  </a:cubicBezTo>
                  <a:cubicBezTo>
                    <a:pt x="8863" y="0"/>
                    <a:pt x="8863" y="0"/>
                    <a:pt x="8863" y="0"/>
                  </a:cubicBezTo>
                  <a:cubicBezTo>
                    <a:pt x="9057" y="0"/>
                    <a:pt x="9214" y="157"/>
                    <a:pt x="9214" y="351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186;p27"/>
            <p:cNvSpPr/>
            <p:nvPr/>
          </p:nvSpPr>
          <p:spPr>
            <a:xfrm>
              <a:off x="4111299" y="2824692"/>
              <a:ext cx="2416046" cy="3693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algn="ctr"/>
              <a:r>
                <a:rPr lang="en-US" sz="1200" dirty="0" smtClean="0">
                  <a:solidFill>
                    <a:schemeClr val="lt1"/>
                  </a:solidFill>
                </a:rPr>
                <a:t>Types of Applications</a:t>
              </a:r>
              <a:endParaRPr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84" name="Google Shape;188;p27"/>
          <p:cNvPicPr preferRelativeResize="0"/>
          <p:nvPr/>
        </p:nvPicPr>
        <p:blipFill rotWithShape="1">
          <a:blip r:embed="rId3">
            <a:alphaModFix/>
          </a:blip>
          <a:srcRect r="51837"/>
          <a:stretch/>
        </p:blipFill>
        <p:spPr>
          <a:xfrm rot="5400000">
            <a:off x="7567246" y="2183526"/>
            <a:ext cx="539643" cy="375544"/>
          </a:xfrm>
          <a:prstGeom prst="rect">
            <a:avLst/>
          </a:prstGeom>
          <a:noFill/>
          <a:ln>
            <a:noFill/>
          </a:ln>
        </p:spPr>
      </p:pic>
      <p:pic>
        <p:nvPicPr>
          <p:cNvPr id="185" name="Google Shape;189;p27"/>
          <p:cNvPicPr preferRelativeResize="0"/>
          <p:nvPr/>
        </p:nvPicPr>
        <p:blipFill rotWithShape="1">
          <a:blip r:embed="rId3">
            <a:alphaModFix/>
          </a:blip>
          <a:srcRect r="51837"/>
          <a:stretch/>
        </p:blipFill>
        <p:spPr>
          <a:xfrm rot="16200000" flipH="1">
            <a:off x="8849934" y="2183527"/>
            <a:ext cx="539643" cy="375544"/>
          </a:xfrm>
          <a:prstGeom prst="rect">
            <a:avLst/>
          </a:prstGeom>
          <a:noFill/>
          <a:ln>
            <a:noFill/>
          </a:ln>
        </p:spPr>
      </p:pic>
      <p:sp>
        <p:nvSpPr>
          <p:cNvPr id="186" name="Google Shape;190;p27"/>
          <p:cNvSpPr/>
          <p:nvPr/>
        </p:nvSpPr>
        <p:spPr>
          <a:xfrm flipH="1">
            <a:off x="8020392" y="1844661"/>
            <a:ext cx="911347" cy="796459"/>
          </a:xfrm>
          <a:custGeom>
            <a:avLst/>
            <a:gdLst/>
            <a:ahLst/>
            <a:cxnLst/>
            <a:rect l="l" t="t" r="r" b="b"/>
            <a:pathLst>
              <a:path w="2630" h="2347" extrusionOk="0">
                <a:moveTo>
                  <a:pt x="2630" y="617"/>
                </a:moveTo>
                <a:cubicBezTo>
                  <a:pt x="2630" y="2181"/>
                  <a:pt x="2630" y="2181"/>
                  <a:pt x="2630" y="2181"/>
                </a:cubicBezTo>
                <a:cubicBezTo>
                  <a:pt x="2630" y="2239"/>
                  <a:pt x="2622" y="2294"/>
                  <a:pt x="2607" y="2347"/>
                </a:cubicBezTo>
                <a:cubicBezTo>
                  <a:pt x="23" y="2347"/>
                  <a:pt x="23" y="2347"/>
                  <a:pt x="23" y="2347"/>
                </a:cubicBezTo>
                <a:cubicBezTo>
                  <a:pt x="8" y="2294"/>
                  <a:pt x="0" y="2239"/>
                  <a:pt x="0" y="2181"/>
                </a:cubicBezTo>
                <a:cubicBezTo>
                  <a:pt x="0" y="617"/>
                  <a:pt x="0" y="617"/>
                  <a:pt x="0" y="617"/>
                </a:cubicBezTo>
                <a:cubicBezTo>
                  <a:pt x="0" y="276"/>
                  <a:pt x="277" y="0"/>
                  <a:pt x="617" y="0"/>
                </a:cubicBezTo>
                <a:cubicBezTo>
                  <a:pt x="2013" y="0"/>
                  <a:pt x="2013" y="0"/>
                  <a:pt x="2013" y="0"/>
                </a:cubicBezTo>
                <a:cubicBezTo>
                  <a:pt x="2354" y="0"/>
                  <a:pt x="2630" y="276"/>
                  <a:pt x="2630" y="61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2" name="Google Shape;221;p27"/>
          <p:cNvSpPr/>
          <p:nvPr/>
        </p:nvSpPr>
        <p:spPr>
          <a:xfrm>
            <a:off x="6036008" y="1369896"/>
            <a:ext cx="1878978" cy="7018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US" sz="1200" dirty="0" smtClean="0">
                <a:solidFill>
                  <a:schemeClr val="lt1"/>
                </a:solidFill>
                <a:ea typeface="Calibri"/>
              </a:rPr>
              <a:t>Application types will have varying complexity level when coding</a:t>
            </a:r>
            <a:endParaRPr sz="12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94" name="Google Shape;197;p27"/>
          <p:cNvGrpSpPr/>
          <p:nvPr/>
        </p:nvGrpSpPr>
        <p:grpSpPr>
          <a:xfrm>
            <a:off x="8289" y="2946146"/>
            <a:ext cx="3191953" cy="494770"/>
            <a:chOff x="3981784" y="4071104"/>
            <a:chExt cx="4525963" cy="715963"/>
          </a:xfrm>
        </p:grpSpPr>
        <p:sp>
          <p:nvSpPr>
            <p:cNvPr id="204" name="Google Shape;198;p27"/>
            <p:cNvSpPr/>
            <p:nvPr/>
          </p:nvSpPr>
          <p:spPr>
            <a:xfrm>
              <a:off x="3981784" y="4071104"/>
              <a:ext cx="4525963" cy="715963"/>
            </a:xfrm>
            <a:custGeom>
              <a:avLst/>
              <a:gdLst/>
              <a:ahLst/>
              <a:cxnLst/>
              <a:rect l="l" t="t" r="r" b="b"/>
              <a:pathLst>
                <a:path w="9214" h="1457" extrusionOk="0">
                  <a:moveTo>
                    <a:pt x="9214" y="351"/>
                  </a:moveTo>
                  <a:cubicBezTo>
                    <a:pt x="9214" y="1106"/>
                    <a:pt x="9214" y="1106"/>
                    <a:pt x="9214" y="1106"/>
                  </a:cubicBezTo>
                  <a:cubicBezTo>
                    <a:pt x="9214" y="1300"/>
                    <a:pt x="9057" y="1457"/>
                    <a:pt x="8863" y="1457"/>
                  </a:cubicBezTo>
                  <a:cubicBezTo>
                    <a:pt x="351" y="1457"/>
                    <a:pt x="351" y="1457"/>
                    <a:pt x="351" y="1457"/>
                  </a:cubicBezTo>
                  <a:cubicBezTo>
                    <a:pt x="158" y="1457"/>
                    <a:pt x="0" y="1300"/>
                    <a:pt x="0" y="1106"/>
                  </a:cubicBezTo>
                  <a:cubicBezTo>
                    <a:pt x="0" y="351"/>
                    <a:pt x="0" y="351"/>
                    <a:pt x="0" y="351"/>
                  </a:cubicBezTo>
                  <a:cubicBezTo>
                    <a:pt x="0" y="157"/>
                    <a:pt x="158" y="0"/>
                    <a:pt x="351" y="0"/>
                  </a:cubicBezTo>
                  <a:cubicBezTo>
                    <a:pt x="8863" y="0"/>
                    <a:pt x="8863" y="0"/>
                    <a:pt x="8863" y="0"/>
                  </a:cubicBezTo>
                  <a:cubicBezTo>
                    <a:pt x="9057" y="0"/>
                    <a:pt x="9214" y="157"/>
                    <a:pt x="9214" y="351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5" name="Google Shape;199;p27"/>
            <p:cNvSpPr/>
            <p:nvPr/>
          </p:nvSpPr>
          <p:spPr>
            <a:xfrm>
              <a:off x="5917586" y="4244419"/>
              <a:ext cx="2391136" cy="3693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algn="ctr"/>
              <a:r>
                <a:rPr lang="en-US" sz="1200" dirty="0" smtClean="0">
                  <a:solidFill>
                    <a:schemeClr val="lt1"/>
                  </a:solidFill>
                </a:rPr>
                <a:t>Percentage Free Text</a:t>
              </a:r>
              <a:endParaRPr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96" name="Google Shape;201;p27"/>
          <p:cNvPicPr preferRelativeResize="0"/>
          <p:nvPr/>
        </p:nvPicPr>
        <p:blipFill rotWithShape="1">
          <a:blip r:embed="rId3">
            <a:alphaModFix/>
          </a:blip>
          <a:srcRect r="51837"/>
          <a:stretch/>
        </p:blipFill>
        <p:spPr>
          <a:xfrm rot="16200000" flipH="1">
            <a:off x="1146662" y="2986266"/>
            <a:ext cx="539643" cy="375543"/>
          </a:xfrm>
          <a:prstGeom prst="rect">
            <a:avLst/>
          </a:prstGeom>
          <a:noFill/>
          <a:ln>
            <a:noFill/>
          </a:ln>
        </p:spPr>
      </p:pic>
      <p:pic>
        <p:nvPicPr>
          <p:cNvPr id="197" name="Google Shape;202;p27"/>
          <p:cNvPicPr preferRelativeResize="0"/>
          <p:nvPr/>
        </p:nvPicPr>
        <p:blipFill rotWithShape="1">
          <a:blip r:embed="rId3">
            <a:alphaModFix/>
          </a:blip>
          <a:srcRect r="51837"/>
          <a:stretch/>
        </p:blipFill>
        <p:spPr>
          <a:xfrm rot="5400000">
            <a:off x="-136026" y="2986267"/>
            <a:ext cx="539643" cy="375543"/>
          </a:xfrm>
          <a:prstGeom prst="rect">
            <a:avLst/>
          </a:prstGeom>
          <a:noFill/>
          <a:ln>
            <a:noFill/>
          </a:ln>
        </p:spPr>
      </p:pic>
      <p:sp>
        <p:nvSpPr>
          <p:cNvPr id="198" name="Google Shape;203;p27"/>
          <p:cNvSpPr/>
          <p:nvPr/>
        </p:nvSpPr>
        <p:spPr>
          <a:xfrm>
            <a:off x="321811" y="2647401"/>
            <a:ext cx="911347" cy="796459"/>
          </a:xfrm>
          <a:custGeom>
            <a:avLst/>
            <a:gdLst/>
            <a:ahLst/>
            <a:cxnLst/>
            <a:rect l="l" t="t" r="r" b="b"/>
            <a:pathLst>
              <a:path w="2630" h="2347" extrusionOk="0">
                <a:moveTo>
                  <a:pt x="2630" y="617"/>
                </a:moveTo>
                <a:cubicBezTo>
                  <a:pt x="2630" y="2181"/>
                  <a:pt x="2630" y="2181"/>
                  <a:pt x="2630" y="2181"/>
                </a:cubicBezTo>
                <a:cubicBezTo>
                  <a:pt x="2630" y="2239"/>
                  <a:pt x="2622" y="2294"/>
                  <a:pt x="2607" y="2347"/>
                </a:cubicBezTo>
                <a:cubicBezTo>
                  <a:pt x="23" y="2347"/>
                  <a:pt x="23" y="2347"/>
                  <a:pt x="23" y="2347"/>
                </a:cubicBezTo>
                <a:cubicBezTo>
                  <a:pt x="8" y="2294"/>
                  <a:pt x="0" y="2239"/>
                  <a:pt x="0" y="2181"/>
                </a:cubicBezTo>
                <a:cubicBezTo>
                  <a:pt x="0" y="617"/>
                  <a:pt x="0" y="617"/>
                  <a:pt x="0" y="617"/>
                </a:cubicBezTo>
                <a:cubicBezTo>
                  <a:pt x="0" y="276"/>
                  <a:pt x="277" y="0"/>
                  <a:pt x="617" y="0"/>
                </a:cubicBezTo>
                <a:cubicBezTo>
                  <a:pt x="2013" y="0"/>
                  <a:pt x="2013" y="0"/>
                  <a:pt x="2013" y="0"/>
                </a:cubicBezTo>
                <a:cubicBezTo>
                  <a:pt x="2354" y="0"/>
                  <a:pt x="2630" y="276"/>
                  <a:pt x="2630" y="617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6" name="Google Shape;220;p27"/>
          <p:cNvSpPr/>
          <p:nvPr/>
        </p:nvSpPr>
        <p:spPr>
          <a:xfrm>
            <a:off x="1200812" y="2121552"/>
            <a:ext cx="1878978" cy="7018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algn="r"/>
            <a:r>
              <a:rPr lang="en-US" sz="1200" dirty="0" smtClean="0">
                <a:solidFill>
                  <a:schemeClr val="lt1"/>
                </a:solidFill>
                <a:ea typeface="Calibri"/>
              </a:rPr>
              <a:t>The more free text input data involved, the more complex logic needed</a:t>
            </a:r>
            <a:endParaRPr sz="12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8" name="Google Shape;210;p27"/>
          <p:cNvSpPr/>
          <p:nvPr/>
        </p:nvSpPr>
        <p:spPr>
          <a:xfrm flipH="1">
            <a:off x="5952047" y="3928293"/>
            <a:ext cx="3191953" cy="494770"/>
          </a:xfrm>
          <a:custGeom>
            <a:avLst/>
            <a:gdLst/>
            <a:ahLst/>
            <a:cxnLst/>
            <a:rect l="l" t="t" r="r" b="b"/>
            <a:pathLst>
              <a:path w="9214" h="1457" extrusionOk="0">
                <a:moveTo>
                  <a:pt x="9214" y="351"/>
                </a:moveTo>
                <a:cubicBezTo>
                  <a:pt x="9214" y="1106"/>
                  <a:pt x="9214" y="1106"/>
                  <a:pt x="9214" y="1106"/>
                </a:cubicBezTo>
                <a:cubicBezTo>
                  <a:pt x="9214" y="1300"/>
                  <a:pt x="9057" y="1457"/>
                  <a:pt x="8863" y="1457"/>
                </a:cubicBezTo>
                <a:cubicBezTo>
                  <a:pt x="351" y="1457"/>
                  <a:pt x="351" y="1457"/>
                  <a:pt x="351" y="1457"/>
                </a:cubicBezTo>
                <a:cubicBezTo>
                  <a:pt x="158" y="1457"/>
                  <a:pt x="0" y="1300"/>
                  <a:pt x="0" y="1106"/>
                </a:cubicBezTo>
                <a:cubicBezTo>
                  <a:pt x="0" y="351"/>
                  <a:pt x="0" y="351"/>
                  <a:pt x="0" y="351"/>
                </a:cubicBezTo>
                <a:cubicBezTo>
                  <a:pt x="0" y="157"/>
                  <a:pt x="158" y="0"/>
                  <a:pt x="351" y="0"/>
                </a:cubicBezTo>
                <a:cubicBezTo>
                  <a:pt x="8863" y="0"/>
                  <a:pt x="8863" y="0"/>
                  <a:pt x="8863" y="0"/>
                </a:cubicBezTo>
                <a:cubicBezTo>
                  <a:pt x="9057" y="0"/>
                  <a:pt x="9214" y="157"/>
                  <a:pt x="9214" y="351"/>
                </a:cubicBezTo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9" name="Google Shape;211;p27"/>
          <p:cNvSpPr/>
          <p:nvPr/>
        </p:nvSpPr>
        <p:spPr>
          <a:xfrm>
            <a:off x="6036008" y="4048063"/>
            <a:ext cx="1751544" cy="254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algn="ctr"/>
            <a:r>
              <a:rPr lang="en-US" sz="1200" dirty="0" smtClean="0">
                <a:solidFill>
                  <a:schemeClr val="lt1"/>
                </a:solidFill>
              </a:rPr>
              <a:t>Number of Applications</a:t>
            </a:r>
            <a:endParaRPr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11" name="Google Shape;213;p27"/>
          <p:cNvPicPr preferRelativeResize="0"/>
          <p:nvPr/>
        </p:nvPicPr>
        <p:blipFill rotWithShape="1">
          <a:blip r:embed="rId3">
            <a:alphaModFix/>
          </a:blip>
          <a:srcRect r="51837"/>
          <a:stretch/>
        </p:blipFill>
        <p:spPr>
          <a:xfrm rot="5400000">
            <a:off x="7465984" y="3968413"/>
            <a:ext cx="539643" cy="375543"/>
          </a:xfrm>
          <a:prstGeom prst="rect">
            <a:avLst/>
          </a:prstGeom>
          <a:noFill/>
          <a:ln>
            <a:noFill/>
          </a:ln>
        </p:spPr>
      </p:pic>
      <p:pic>
        <p:nvPicPr>
          <p:cNvPr id="212" name="Google Shape;214;p27"/>
          <p:cNvPicPr preferRelativeResize="0"/>
          <p:nvPr/>
        </p:nvPicPr>
        <p:blipFill rotWithShape="1">
          <a:blip r:embed="rId3">
            <a:alphaModFix/>
          </a:blip>
          <a:srcRect r="51837"/>
          <a:stretch/>
        </p:blipFill>
        <p:spPr>
          <a:xfrm rot="16200000" flipH="1">
            <a:off x="8748672" y="3968414"/>
            <a:ext cx="539643" cy="375543"/>
          </a:xfrm>
          <a:prstGeom prst="rect">
            <a:avLst/>
          </a:prstGeom>
          <a:noFill/>
          <a:ln>
            <a:noFill/>
          </a:ln>
        </p:spPr>
      </p:pic>
      <p:sp>
        <p:nvSpPr>
          <p:cNvPr id="213" name="Google Shape;215;p27"/>
          <p:cNvSpPr/>
          <p:nvPr/>
        </p:nvSpPr>
        <p:spPr>
          <a:xfrm flipH="1">
            <a:off x="7919131" y="3629548"/>
            <a:ext cx="911347" cy="796459"/>
          </a:xfrm>
          <a:custGeom>
            <a:avLst/>
            <a:gdLst/>
            <a:ahLst/>
            <a:cxnLst/>
            <a:rect l="l" t="t" r="r" b="b"/>
            <a:pathLst>
              <a:path w="2630" h="2347" extrusionOk="0">
                <a:moveTo>
                  <a:pt x="2630" y="617"/>
                </a:moveTo>
                <a:cubicBezTo>
                  <a:pt x="2630" y="2181"/>
                  <a:pt x="2630" y="2181"/>
                  <a:pt x="2630" y="2181"/>
                </a:cubicBezTo>
                <a:cubicBezTo>
                  <a:pt x="2630" y="2239"/>
                  <a:pt x="2622" y="2294"/>
                  <a:pt x="2607" y="2347"/>
                </a:cubicBezTo>
                <a:cubicBezTo>
                  <a:pt x="23" y="2347"/>
                  <a:pt x="23" y="2347"/>
                  <a:pt x="23" y="2347"/>
                </a:cubicBezTo>
                <a:cubicBezTo>
                  <a:pt x="8" y="2294"/>
                  <a:pt x="0" y="2239"/>
                  <a:pt x="0" y="2181"/>
                </a:cubicBezTo>
                <a:cubicBezTo>
                  <a:pt x="0" y="617"/>
                  <a:pt x="0" y="617"/>
                  <a:pt x="0" y="617"/>
                </a:cubicBezTo>
                <a:cubicBezTo>
                  <a:pt x="0" y="276"/>
                  <a:pt x="277" y="0"/>
                  <a:pt x="617" y="0"/>
                </a:cubicBezTo>
                <a:cubicBezTo>
                  <a:pt x="2013" y="0"/>
                  <a:pt x="2013" y="0"/>
                  <a:pt x="2013" y="0"/>
                </a:cubicBezTo>
                <a:cubicBezTo>
                  <a:pt x="2354" y="0"/>
                  <a:pt x="2630" y="276"/>
                  <a:pt x="2630" y="617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8" name="Google Shape;222;p27"/>
          <p:cNvSpPr/>
          <p:nvPr/>
        </p:nvSpPr>
        <p:spPr>
          <a:xfrm>
            <a:off x="5963256" y="3152219"/>
            <a:ext cx="1878978" cy="7018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US" sz="1200" dirty="0" smtClean="0">
                <a:solidFill>
                  <a:schemeClr val="lt1"/>
                </a:solidFill>
              </a:rPr>
              <a:t>The more application involved, the higher effort needed to code</a:t>
            </a:r>
            <a:endParaRPr sz="12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20" name="Google Shape;197;p27"/>
          <p:cNvGrpSpPr/>
          <p:nvPr/>
        </p:nvGrpSpPr>
        <p:grpSpPr>
          <a:xfrm>
            <a:off x="27464" y="4491136"/>
            <a:ext cx="3191953" cy="494770"/>
            <a:chOff x="3981784" y="4071104"/>
            <a:chExt cx="4525963" cy="715963"/>
          </a:xfrm>
        </p:grpSpPr>
        <p:sp>
          <p:nvSpPr>
            <p:cNvPr id="230" name="Google Shape;198;p27"/>
            <p:cNvSpPr/>
            <p:nvPr/>
          </p:nvSpPr>
          <p:spPr>
            <a:xfrm>
              <a:off x="3981784" y="4071104"/>
              <a:ext cx="4525963" cy="715963"/>
            </a:xfrm>
            <a:custGeom>
              <a:avLst/>
              <a:gdLst/>
              <a:ahLst/>
              <a:cxnLst/>
              <a:rect l="l" t="t" r="r" b="b"/>
              <a:pathLst>
                <a:path w="9214" h="1457" extrusionOk="0">
                  <a:moveTo>
                    <a:pt x="9214" y="351"/>
                  </a:moveTo>
                  <a:cubicBezTo>
                    <a:pt x="9214" y="1106"/>
                    <a:pt x="9214" y="1106"/>
                    <a:pt x="9214" y="1106"/>
                  </a:cubicBezTo>
                  <a:cubicBezTo>
                    <a:pt x="9214" y="1300"/>
                    <a:pt x="9057" y="1457"/>
                    <a:pt x="8863" y="1457"/>
                  </a:cubicBezTo>
                  <a:cubicBezTo>
                    <a:pt x="351" y="1457"/>
                    <a:pt x="351" y="1457"/>
                    <a:pt x="351" y="1457"/>
                  </a:cubicBezTo>
                  <a:cubicBezTo>
                    <a:pt x="158" y="1457"/>
                    <a:pt x="0" y="1300"/>
                    <a:pt x="0" y="1106"/>
                  </a:cubicBezTo>
                  <a:cubicBezTo>
                    <a:pt x="0" y="351"/>
                    <a:pt x="0" y="351"/>
                    <a:pt x="0" y="351"/>
                  </a:cubicBezTo>
                  <a:cubicBezTo>
                    <a:pt x="0" y="157"/>
                    <a:pt x="158" y="0"/>
                    <a:pt x="351" y="0"/>
                  </a:cubicBezTo>
                  <a:cubicBezTo>
                    <a:pt x="8863" y="0"/>
                    <a:pt x="8863" y="0"/>
                    <a:pt x="8863" y="0"/>
                  </a:cubicBezTo>
                  <a:cubicBezTo>
                    <a:pt x="9057" y="0"/>
                    <a:pt x="9214" y="157"/>
                    <a:pt x="9214" y="351"/>
                  </a:cubicBezTo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endParaRPr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1" name="Google Shape;199;p27"/>
            <p:cNvSpPr/>
            <p:nvPr/>
          </p:nvSpPr>
          <p:spPr>
            <a:xfrm>
              <a:off x="5917586" y="4244419"/>
              <a:ext cx="2391136" cy="3693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algn="ctr"/>
              <a:r>
                <a:rPr lang="en-US" sz="1200" dirty="0" smtClean="0">
                  <a:solidFill>
                    <a:schemeClr val="lt1"/>
                  </a:solidFill>
                </a:rPr>
                <a:t>Remote Access</a:t>
              </a:r>
              <a:endParaRPr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222" name="Google Shape;201;p27"/>
          <p:cNvPicPr preferRelativeResize="0"/>
          <p:nvPr/>
        </p:nvPicPr>
        <p:blipFill rotWithShape="1">
          <a:blip r:embed="rId3">
            <a:alphaModFix/>
          </a:blip>
          <a:srcRect r="51837"/>
          <a:stretch/>
        </p:blipFill>
        <p:spPr>
          <a:xfrm rot="16200000" flipH="1">
            <a:off x="651009" y="4431364"/>
            <a:ext cx="539643" cy="375543"/>
          </a:xfrm>
          <a:prstGeom prst="rect">
            <a:avLst/>
          </a:prstGeom>
          <a:noFill/>
          <a:ln>
            <a:noFill/>
          </a:ln>
        </p:spPr>
      </p:pic>
      <p:pic>
        <p:nvPicPr>
          <p:cNvPr id="223" name="Google Shape;202;p27"/>
          <p:cNvPicPr preferRelativeResize="0"/>
          <p:nvPr/>
        </p:nvPicPr>
        <p:blipFill rotWithShape="1">
          <a:blip r:embed="rId3">
            <a:alphaModFix/>
          </a:blip>
          <a:srcRect r="51837"/>
          <a:stretch/>
        </p:blipFill>
        <p:spPr>
          <a:xfrm rot="5400000">
            <a:off x="-116851" y="4531257"/>
            <a:ext cx="539643" cy="375543"/>
          </a:xfrm>
          <a:prstGeom prst="rect">
            <a:avLst/>
          </a:prstGeom>
          <a:noFill/>
          <a:ln>
            <a:noFill/>
          </a:ln>
        </p:spPr>
      </p:pic>
      <p:sp>
        <p:nvSpPr>
          <p:cNvPr id="224" name="Google Shape;203;p27"/>
          <p:cNvSpPr/>
          <p:nvPr/>
        </p:nvSpPr>
        <p:spPr>
          <a:xfrm>
            <a:off x="340986" y="4192391"/>
            <a:ext cx="911347" cy="796459"/>
          </a:xfrm>
          <a:custGeom>
            <a:avLst/>
            <a:gdLst/>
            <a:ahLst/>
            <a:cxnLst/>
            <a:rect l="l" t="t" r="r" b="b"/>
            <a:pathLst>
              <a:path w="2630" h="2347" extrusionOk="0">
                <a:moveTo>
                  <a:pt x="2630" y="617"/>
                </a:moveTo>
                <a:cubicBezTo>
                  <a:pt x="2630" y="2181"/>
                  <a:pt x="2630" y="2181"/>
                  <a:pt x="2630" y="2181"/>
                </a:cubicBezTo>
                <a:cubicBezTo>
                  <a:pt x="2630" y="2239"/>
                  <a:pt x="2622" y="2294"/>
                  <a:pt x="2607" y="2347"/>
                </a:cubicBezTo>
                <a:cubicBezTo>
                  <a:pt x="23" y="2347"/>
                  <a:pt x="23" y="2347"/>
                  <a:pt x="23" y="2347"/>
                </a:cubicBezTo>
                <a:cubicBezTo>
                  <a:pt x="8" y="2294"/>
                  <a:pt x="0" y="2239"/>
                  <a:pt x="0" y="2181"/>
                </a:cubicBezTo>
                <a:cubicBezTo>
                  <a:pt x="0" y="617"/>
                  <a:pt x="0" y="617"/>
                  <a:pt x="0" y="617"/>
                </a:cubicBezTo>
                <a:cubicBezTo>
                  <a:pt x="0" y="276"/>
                  <a:pt x="277" y="0"/>
                  <a:pt x="617" y="0"/>
                </a:cubicBezTo>
                <a:cubicBezTo>
                  <a:pt x="2013" y="0"/>
                  <a:pt x="2013" y="0"/>
                  <a:pt x="2013" y="0"/>
                </a:cubicBezTo>
                <a:cubicBezTo>
                  <a:pt x="2354" y="0"/>
                  <a:pt x="2630" y="276"/>
                  <a:pt x="2630" y="617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endParaRPr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2" name="Google Shape;220;p27"/>
          <p:cNvSpPr/>
          <p:nvPr/>
        </p:nvSpPr>
        <p:spPr>
          <a:xfrm>
            <a:off x="1219987" y="3927798"/>
            <a:ext cx="1878978" cy="4952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algn="r"/>
            <a:r>
              <a:rPr lang="en-US" sz="1200" dirty="0" smtClean="0">
                <a:solidFill>
                  <a:schemeClr val="lt1"/>
                </a:solidFill>
              </a:rPr>
              <a:t>This will need image recognition software</a:t>
            </a:r>
            <a:endParaRPr sz="12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34" name="Google Shape;328;p26"/>
          <p:cNvGrpSpPr/>
          <p:nvPr/>
        </p:nvGrpSpPr>
        <p:grpSpPr>
          <a:xfrm>
            <a:off x="8332066" y="2031181"/>
            <a:ext cx="292446" cy="453182"/>
            <a:chOff x="198438" y="2200275"/>
            <a:chExt cx="1966912" cy="3048000"/>
          </a:xfrm>
        </p:grpSpPr>
        <p:sp>
          <p:nvSpPr>
            <p:cNvPr id="235" name="Google Shape;329;p26"/>
            <p:cNvSpPr/>
            <p:nvPr/>
          </p:nvSpPr>
          <p:spPr>
            <a:xfrm>
              <a:off x="1715677" y="2924371"/>
              <a:ext cx="134173" cy="1669662"/>
            </a:xfrm>
            <a:prstGeom prst="rect">
              <a:avLst/>
            </a:prstGeom>
            <a:solidFill>
              <a:srgbClr val="7B7B7B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6" name="Google Shape;330;p26"/>
            <p:cNvSpPr/>
            <p:nvPr/>
          </p:nvSpPr>
          <p:spPr>
            <a:xfrm>
              <a:off x="1314043" y="3309151"/>
              <a:ext cx="134173" cy="1254104"/>
            </a:xfrm>
            <a:prstGeom prst="rect">
              <a:avLst/>
            </a:prstGeom>
            <a:solidFill>
              <a:srgbClr val="7B7B7B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7" name="Google Shape;331;p26"/>
            <p:cNvSpPr/>
            <p:nvPr/>
          </p:nvSpPr>
          <p:spPr>
            <a:xfrm>
              <a:off x="915580" y="3692212"/>
              <a:ext cx="134173" cy="840418"/>
            </a:xfrm>
            <a:prstGeom prst="rect">
              <a:avLst/>
            </a:prstGeom>
            <a:solidFill>
              <a:srgbClr val="7B7B7B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8" name="Google Shape;332;p26"/>
            <p:cNvSpPr/>
            <p:nvPr/>
          </p:nvSpPr>
          <p:spPr>
            <a:xfrm>
              <a:off x="513940" y="4078717"/>
              <a:ext cx="134173" cy="423004"/>
            </a:xfrm>
            <a:prstGeom prst="rect">
              <a:avLst/>
            </a:prstGeom>
            <a:solidFill>
              <a:srgbClr val="7B7B7B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9" name="Google Shape;333;p26"/>
            <p:cNvSpPr/>
            <p:nvPr/>
          </p:nvSpPr>
          <p:spPr>
            <a:xfrm>
              <a:off x="254000" y="2239963"/>
              <a:ext cx="1851025" cy="473075"/>
            </a:xfrm>
            <a:custGeom>
              <a:avLst/>
              <a:gdLst/>
              <a:ahLst/>
              <a:cxnLst/>
              <a:rect l="l" t="t" r="r" b="b"/>
              <a:pathLst>
                <a:path w="858" h="220" extrusionOk="0">
                  <a:moveTo>
                    <a:pt x="0" y="220"/>
                  </a:moveTo>
                  <a:cubicBezTo>
                    <a:pt x="0" y="66"/>
                    <a:pt x="0" y="66"/>
                    <a:pt x="0" y="66"/>
                  </a:cubicBezTo>
                  <a:cubicBezTo>
                    <a:pt x="0" y="66"/>
                    <a:pt x="16" y="8"/>
                    <a:pt x="104" y="0"/>
                  </a:cubicBezTo>
                  <a:cubicBezTo>
                    <a:pt x="760" y="0"/>
                    <a:pt x="760" y="0"/>
                    <a:pt x="760" y="0"/>
                  </a:cubicBezTo>
                  <a:cubicBezTo>
                    <a:pt x="760" y="0"/>
                    <a:pt x="852" y="12"/>
                    <a:pt x="858" y="91"/>
                  </a:cubicBezTo>
                  <a:cubicBezTo>
                    <a:pt x="858" y="220"/>
                    <a:pt x="858" y="220"/>
                    <a:pt x="858" y="220"/>
                  </a:cubicBezTo>
                  <a:lnTo>
                    <a:pt x="0" y="220"/>
                  </a:ln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0" name="Google Shape;334;p26"/>
            <p:cNvSpPr/>
            <p:nvPr/>
          </p:nvSpPr>
          <p:spPr>
            <a:xfrm>
              <a:off x="247650" y="4733925"/>
              <a:ext cx="1851025" cy="477837"/>
            </a:xfrm>
            <a:custGeom>
              <a:avLst/>
              <a:gdLst/>
              <a:ahLst/>
              <a:cxnLst/>
              <a:rect l="l" t="t" r="r" b="b"/>
              <a:pathLst>
                <a:path w="858" h="222" extrusionOk="0">
                  <a:moveTo>
                    <a:pt x="0" y="0"/>
                  </a:moveTo>
                  <a:cubicBezTo>
                    <a:pt x="858" y="0"/>
                    <a:pt x="858" y="0"/>
                    <a:pt x="858" y="0"/>
                  </a:cubicBezTo>
                  <a:cubicBezTo>
                    <a:pt x="858" y="152"/>
                    <a:pt x="858" y="152"/>
                    <a:pt x="858" y="152"/>
                  </a:cubicBezTo>
                  <a:cubicBezTo>
                    <a:pt x="858" y="152"/>
                    <a:pt x="841" y="217"/>
                    <a:pt x="781" y="222"/>
                  </a:cubicBezTo>
                  <a:cubicBezTo>
                    <a:pt x="102" y="222"/>
                    <a:pt x="102" y="222"/>
                    <a:pt x="102" y="222"/>
                  </a:cubicBezTo>
                  <a:cubicBezTo>
                    <a:pt x="102" y="222"/>
                    <a:pt x="14" y="208"/>
                    <a:pt x="0" y="13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1" name="Google Shape;335;p26"/>
            <p:cNvSpPr/>
            <p:nvPr/>
          </p:nvSpPr>
          <p:spPr>
            <a:xfrm>
              <a:off x="198438" y="2200275"/>
              <a:ext cx="1966912" cy="3048000"/>
            </a:xfrm>
            <a:custGeom>
              <a:avLst/>
              <a:gdLst/>
              <a:ahLst/>
              <a:cxnLst/>
              <a:rect l="l" t="t" r="r" b="b"/>
              <a:pathLst>
                <a:path w="912" h="1418" extrusionOk="0">
                  <a:moveTo>
                    <a:pt x="912" y="120"/>
                  </a:moveTo>
                  <a:cubicBezTo>
                    <a:pt x="912" y="1298"/>
                    <a:pt x="912" y="1298"/>
                    <a:pt x="912" y="1298"/>
                  </a:cubicBezTo>
                  <a:cubicBezTo>
                    <a:pt x="912" y="1364"/>
                    <a:pt x="858" y="1418"/>
                    <a:pt x="792" y="1418"/>
                  </a:cubicBezTo>
                  <a:cubicBezTo>
                    <a:pt x="120" y="1418"/>
                    <a:pt x="120" y="1418"/>
                    <a:pt x="120" y="1418"/>
                  </a:cubicBezTo>
                  <a:cubicBezTo>
                    <a:pt x="54" y="1418"/>
                    <a:pt x="0" y="1364"/>
                    <a:pt x="0" y="1298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0" y="54"/>
                    <a:pt x="54" y="0"/>
                    <a:pt x="120" y="0"/>
                  </a:cubicBezTo>
                  <a:cubicBezTo>
                    <a:pt x="792" y="0"/>
                    <a:pt x="792" y="0"/>
                    <a:pt x="792" y="0"/>
                  </a:cubicBezTo>
                  <a:cubicBezTo>
                    <a:pt x="858" y="0"/>
                    <a:pt x="912" y="54"/>
                    <a:pt x="912" y="120"/>
                  </a:cubicBezTo>
                  <a:close/>
                  <a:moveTo>
                    <a:pt x="864" y="1298"/>
                  </a:moveTo>
                  <a:cubicBezTo>
                    <a:pt x="864" y="1200"/>
                    <a:pt x="864" y="1200"/>
                    <a:pt x="864" y="1200"/>
                  </a:cubicBezTo>
                  <a:cubicBezTo>
                    <a:pt x="48" y="1200"/>
                    <a:pt x="48" y="1200"/>
                    <a:pt x="48" y="1200"/>
                  </a:cubicBezTo>
                  <a:cubicBezTo>
                    <a:pt x="48" y="1298"/>
                    <a:pt x="48" y="1298"/>
                    <a:pt x="48" y="1298"/>
                  </a:cubicBezTo>
                  <a:cubicBezTo>
                    <a:pt x="48" y="1338"/>
                    <a:pt x="80" y="1370"/>
                    <a:pt x="120" y="1370"/>
                  </a:cubicBezTo>
                  <a:cubicBezTo>
                    <a:pt x="792" y="1370"/>
                    <a:pt x="792" y="1370"/>
                    <a:pt x="792" y="1370"/>
                  </a:cubicBezTo>
                  <a:cubicBezTo>
                    <a:pt x="832" y="1370"/>
                    <a:pt x="864" y="1338"/>
                    <a:pt x="864" y="1298"/>
                  </a:cubicBezTo>
                  <a:close/>
                  <a:moveTo>
                    <a:pt x="864" y="1152"/>
                  </a:moveTo>
                  <a:cubicBezTo>
                    <a:pt x="864" y="266"/>
                    <a:pt x="864" y="266"/>
                    <a:pt x="864" y="266"/>
                  </a:cubicBezTo>
                  <a:cubicBezTo>
                    <a:pt x="48" y="266"/>
                    <a:pt x="48" y="266"/>
                    <a:pt x="48" y="266"/>
                  </a:cubicBezTo>
                  <a:cubicBezTo>
                    <a:pt x="48" y="1152"/>
                    <a:pt x="48" y="1152"/>
                    <a:pt x="48" y="1152"/>
                  </a:cubicBezTo>
                  <a:lnTo>
                    <a:pt x="864" y="1152"/>
                  </a:lnTo>
                  <a:close/>
                  <a:moveTo>
                    <a:pt x="864" y="218"/>
                  </a:moveTo>
                  <a:cubicBezTo>
                    <a:pt x="864" y="120"/>
                    <a:pt x="864" y="120"/>
                    <a:pt x="864" y="120"/>
                  </a:cubicBezTo>
                  <a:cubicBezTo>
                    <a:pt x="864" y="80"/>
                    <a:pt x="832" y="48"/>
                    <a:pt x="792" y="48"/>
                  </a:cubicBezTo>
                  <a:cubicBezTo>
                    <a:pt x="120" y="48"/>
                    <a:pt x="120" y="48"/>
                    <a:pt x="120" y="48"/>
                  </a:cubicBezTo>
                  <a:cubicBezTo>
                    <a:pt x="80" y="48"/>
                    <a:pt x="48" y="80"/>
                    <a:pt x="48" y="120"/>
                  </a:cubicBezTo>
                  <a:cubicBezTo>
                    <a:pt x="48" y="218"/>
                    <a:pt x="48" y="218"/>
                    <a:pt x="48" y="218"/>
                  </a:cubicBezTo>
                  <a:lnTo>
                    <a:pt x="864" y="218"/>
                  </a:lnTo>
                  <a:close/>
                  <a:moveTo>
                    <a:pt x="864" y="218"/>
                  </a:moveTo>
                  <a:cubicBezTo>
                    <a:pt x="864" y="218"/>
                    <a:pt x="864" y="218"/>
                    <a:pt x="864" y="218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2" name="Google Shape;336;p26"/>
            <p:cNvSpPr/>
            <p:nvPr/>
          </p:nvSpPr>
          <p:spPr>
            <a:xfrm>
              <a:off x="1622425" y="2944813"/>
              <a:ext cx="320675" cy="1628775"/>
            </a:xfrm>
            <a:custGeom>
              <a:avLst/>
              <a:gdLst/>
              <a:ahLst/>
              <a:cxnLst/>
              <a:rect l="l" t="t" r="r" b="b"/>
              <a:pathLst>
                <a:path w="149" h="758" extrusionOk="0">
                  <a:moveTo>
                    <a:pt x="149" y="24"/>
                  </a:moveTo>
                  <a:cubicBezTo>
                    <a:pt x="149" y="734"/>
                    <a:pt x="149" y="734"/>
                    <a:pt x="149" y="734"/>
                  </a:cubicBezTo>
                  <a:cubicBezTo>
                    <a:pt x="149" y="747"/>
                    <a:pt x="138" y="758"/>
                    <a:pt x="125" y="758"/>
                  </a:cubicBezTo>
                  <a:cubicBezTo>
                    <a:pt x="24" y="758"/>
                    <a:pt x="24" y="758"/>
                    <a:pt x="24" y="758"/>
                  </a:cubicBezTo>
                  <a:cubicBezTo>
                    <a:pt x="11" y="758"/>
                    <a:pt x="0" y="747"/>
                    <a:pt x="0" y="73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38" y="0"/>
                    <a:pt x="149" y="11"/>
                    <a:pt x="149" y="24"/>
                  </a:cubicBezTo>
                  <a:close/>
                  <a:moveTo>
                    <a:pt x="101" y="710"/>
                  </a:moveTo>
                  <a:cubicBezTo>
                    <a:pt x="101" y="48"/>
                    <a:pt x="101" y="48"/>
                    <a:pt x="101" y="48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48" y="710"/>
                    <a:pt x="48" y="710"/>
                    <a:pt x="48" y="710"/>
                  </a:cubicBezTo>
                  <a:lnTo>
                    <a:pt x="101" y="710"/>
                  </a:lnTo>
                  <a:close/>
                  <a:moveTo>
                    <a:pt x="101" y="710"/>
                  </a:moveTo>
                  <a:cubicBezTo>
                    <a:pt x="101" y="710"/>
                    <a:pt x="101" y="710"/>
                    <a:pt x="101" y="71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3" name="Google Shape;337;p26"/>
            <p:cNvSpPr/>
            <p:nvPr/>
          </p:nvSpPr>
          <p:spPr>
            <a:xfrm>
              <a:off x="1220788" y="3298825"/>
              <a:ext cx="320675" cy="1274762"/>
            </a:xfrm>
            <a:custGeom>
              <a:avLst/>
              <a:gdLst/>
              <a:ahLst/>
              <a:cxnLst/>
              <a:rect l="l" t="t" r="r" b="b"/>
              <a:pathLst>
                <a:path w="149" h="593" extrusionOk="0">
                  <a:moveTo>
                    <a:pt x="149" y="24"/>
                  </a:moveTo>
                  <a:cubicBezTo>
                    <a:pt x="149" y="569"/>
                    <a:pt x="149" y="569"/>
                    <a:pt x="149" y="569"/>
                  </a:cubicBezTo>
                  <a:cubicBezTo>
                    <a:pt x="149" y="582"/>
                    <a:pt x="138" y="593"/>
                    <a:pt x="125" y="593"/>
                  </a:cubicBezTo>
                  <a:cubicBezTo>
                    <a:pt x="24" y="593"/>
                    <a:pt x="24" y="593"/>
                    <a:pt x="24" y="593"/>
                  </a:cubicBezTo>
                  <a:cubicBezTo>
                    <a:pt x="11" y="593"/>
                    <a:pt x="0" y="582"/>
                    <a:pt x="0" y="569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38" y="0"/>
                    <a:pt x="149" y="10"/>
                    <a:pt x="149" y="24"/>
                  </a:cubicBezTo>
                  <a:close/>
                  <a:moveTo>
                    <a:pt x="101" y="545"/>
                  </a:moveTo>
                  <a:cubicBezTo>
                    <a:pt x="101" y="48"/>
                    <a:pt x="101" y="48"/>
                    <a:pt x="101" y="48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48" y="545"/>
                    <a:pt x="48" y="545"/>
                    <a:pt x="48" y="545"/>
                  </a:cubicBezTo>
                  <a:lnTo>
                    <a:pt x="101" y="545"/>
                  </a:lnTo>
                  <a:close/>
                  <a:moveTo>
                    <a:pt x="101" y="545"/>
                  </a:moveTo>
                  <a:cubicBezTo>
                    <a:pt x="101" y="545"/>
                    <a:pt x="101" y="545"/>
                    <a:pt x="101" y="54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4" name="Google Shape;338;p26"/>
            <p:cNvSpPr/>
            <p:nvPr/>
          </p:nvSpPr>
          <p:spPr>
            <a:xfrm>
              <a:off x="909638" y="2435225"/>
              <a:ext cx="544512" cy="103187"/>
            </a:xfrm>
            <a:custGeom>
              <a:avLst/>
              <a:gdLst/>
              <a:ahLst/>
              <a:cxnLst/>
              <a:rect l="l" t="t" r="r" b="b"/>
              <a:pathLst>
                <a:path w="252" h="48" extrusionOk="0">
                  <a:moveTo>
                    <a:pt x="228" y="0"/>
                  </a:moveTo>
                  <a:cubicBezTo>
                    <a:pt x="242" y="0"/>
                    <a:pt x="252" y="11"/>
                    <a:pt x="252" y="24"/>
                  </a:cubicBezTo>
                  <a:cubicBezTo>
                    <a:pt x="252" y="37"/>
                    <a:pt x="242" y="48"/>
                    <a:pt x="228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10" y="48"/>
                    <a:pt x="0" y="37"/>
                    <a:pt x="0" y="24"/>
                  </a:cubicBezTo>
                  <a:cubicBezTo>
                    <a:pt x="0" y="11"/>
                    <a:pt x="10" y="0"/>
                    <a:pt x="24" y="0"/>
                  </a:cubicBezTo>
                  <a:lnTo>
                    <a:pt x="228" y="0"/>
                  </a:lnTo>
                  <a:close/>
                  <a:moveTo>
                    <a:pt x="228" y="0"/>
                  </a:moveTo>
                  <a:cubicBezTo>
                    <a:pt x="228" y="0"/>
                    <a:pt x="228" y="0"/>
                    <a:pt x="228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5" name="Google Shape;339;p26"/>
            <p:cNvSpPr/>
            <p:nvPr/>
          </p:nvSpPr>
          <p:spPr>
            <a:xfrm>
              <a:off x="822325" y="3651250"/>
              <a:ext cx="320675" cy="922337"/>
            </a:xfrm>
            <a:custGeom>
              <a:avLst/>
              <a:gdLst/>
              <a:ahLst/>
              <a:cxnLst/>
              <a:rect l="l" t="t" r="r" b="b"/>
              <a:pathLst>
                <a:path w="149" h="429" extrusionOk="0">
                  <a:moveTo>
                    <a:pt x="149" y="24"/>
                  </a:moveTo>
                  <a:cubicBezTo>
                    <a:pt x="149" y="405"/>
                    <a:pt x="149" y="405"/>
                    <a:pt x="149" y="405"/>
                  </a:cubicBezTo>
                  <a:cubicBezTo>
                    <a:pt x="149" y="418"/>
                    <a:pt x="138" y="429"/>
                    <a:pt x="125" y="429"/>
                  </a:cubicBezTo>
                  <a:cubicBezTo>
                    <a:pt x="24" y="429"/>
                    <a:pt x="24" y="429"/>
                    <a:pt x="24" y="429"/>
                  </a:cubicBezTo>
                  <a:cubicBezTo>
                    <a:pt x="11" y="429"/>
                    <a:pt x="0" y="418"/>
                    <a:pt x="0" y="40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38" y="0"/>
                    <a:pt x="149" y="11"/>
                    <a:pt x="149" y="24"/>
                  </a:cubicBezTo>
                  <a:close/>
                  <a:moveTo>
                    <a:pt x="101" y="381"/>
                  </a:moveTo>
                  <a:cubicBezTo>
                    <a:pt x="101" y="48"/>
                    <a:pt x="101" y="48"/>
                    <a:pt x="101" y="48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48" y="381"/>
                    <a:pt x="48" y="381"/>
                    <a:pt x="48" y="381"/>
                  </a:cubicBezTo>
                  <a:lnTo>
                    <a:pt x="101" y="381"/>
                  </a:lnTo>
                  <a:close/>
                  <a:moveTo>
                    <a:pt x="101" y="381"/>
                  </a:moveTo>
                  <a:cubicBezTo>
                    <a:pt x="101" y="381"/>
                    <a:pt x="101" y="381"/>
                    <a:pt x="101" y="38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6" name="Google Shape;340;p26"/>
            <p:cNvSpPr/>
            <p:nvPr/>
          </p:nvSpPr>
          <p:spPr>
            <a:xfrm>
              <a:off x="420688" y="4006850"/>
              <a:ext cx="320675" cy="566737"/>
            </a:xfrm>
            <a:custGeom>
              <a:avLst/>
              <a:gdLst/>
              <a:ahLst/>
              <a:cxnLst/>
              <a:rect l="l" t="t" r="r" b="b"/>
              <a:pathLst>
                <a:path w="149" h="264" extrusionOk="0">
                  <a:moveTo>
                    <a:pt x="149" y="24"/>
                  </a:moveTo>
                  <a:cubicBezTo>
                    <a:pt x="149" y="240"/>
                    <a:pt x="149" y="240"/>
                    <a:pt x="149" y="240"/>
                  </a:cubicBezTo>
                  <a:cubicBezTo>
                    <a:pt x="149" y="253"/>
                    <a:pt x="138" y="264"/>
                    <a:pt x="125" y="264"/>
                  </a:cubicBezTo>
                  <a:cubicBezTo>
                    <a:pt x="24" y="264"/>
                    <a:pt x="24" y="264"/>
                    <a:pt x="24" y="264"/>
                  </a:cubicBezTo>
                  <a:cubicBezTo>
                    <a:pt x="11" y="264"/>
                    <a:pt x="0" y="253"/>
                    <a:pt x="0" y="24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38" y="0"/>
                    <a:pt x="149" y="11"/>
                    <a:pt x="149" y="24"/>
                  </a:cubicBezTo>
                  <a:close/>
                  <a:moveTo>
                    <a:pt x="101" y="216"/>
                  </a:moveTo>
                  <a:cubicBezTo>
                    <a:pt x="101" y="48"/>
                    <a:pt x="101" y="48"/>
                    <a:pt x="101" y="48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48" y="216"/>
                    <a:pt x="48" y="216"/>
                    <a:pt x="48" y="216"/>
                  </a:cubicBezTo>
                  <a:lnTo>
                    <a:pt x="101" y="216"/>
                  </a:lnTo>
                  <a:close/>
                  <a:moveTo>
                    <a:pt x="101" y="216"/>
                  </a:moveTo>
                  <a:cubicBezTo>
                    <a:pt x="101" y="216"/>
                    <a:pt x="101" y="216"/>
                    <a:pt x="101" y="216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47" name="Google Shape;302;p26"/>
          <p:cNvGrpSpPr/>
          <p:nvPr/>
        </p:nvGrpSpPr>
        <p:grpSpPr>
          <a:xfrm>
            <a:off x="532465" y="1294554"/>
            <a:ext cx="485594" cy="449286"/>
            <a:chOff x="-461963" y="2084387"/>
            <a:chExt cx="3121025" cy="2887663"/>
          </a:xfrm>
        </p:grpSpPr>
        <p:sp>
          <p:nvSpPr>
            <p:cNvPr id="248" name="Google Shape;303;p26"/>
            <p:cNvSpPr/>
            <p:nvPr/>
          </p:nvSpPr>
          <p:spPr>
            <a:xfrm>
              <a:off x="-404813" y="3038475"/>
              <a:ext cx="3003550" cy="1882775"/>
            </a:xfrm>
            <a:custGeom>
              <a:avLst/>
              <a:gdLst/>
              <a:ahLst/>
              <a:cxnLst/>
              <a:rect l="l" t="t" r="r" b="b"/>
              <a:pathLst>
                <a:path w="1892" h="1186" extrusionOk="0">
                  <a:moveTo>
                    <a:pt x="266" y="0"/>
                  </a:moveTo>
                  <a:lnTo>
                    <a:pt x="258" y="309"/>
                  </a:lnTo>
                  <a:lnTo>
                    <a:pt x="842" y="629"/>
                  </a:lnTo>
                  <a:lnTo>
                    <a:pt x="947" y="567"/>
                  </a:lnTo>
                  <a:lnTo>
                    <a:pt x="1059" y="629"/>
                  </a:lnTo>
                  <a:lnTo>
                    <a:pt x="1630" y="309"/>
                  </a:lnTo>
                  <a:lnTo>
                    <a:pt x="1630" y="0"/>
                  </a:lnTo>
                  <a:lnTo>
                    <a:pt x="1892" y="182"/>
                  </a:lnTo>
                  <a:lnTo>
                    <a:pt x="1892" y="1173"/>
                  </a:lnTo>
                  <a:lnTo>
                    <a:pt x="0" y="1186"/>
                  </a:lnTo>
                  <a:lnTo>
                    <a:pt x="0" y="185"/>
                  </a:lnTo>
                  <a:lnTo>
                    <a:pt x="26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9" name="Google Shape;304;p26"/>
            <p:cNvSpPr/>
            <p:nvPr/>
          </p:nvSpPr>
          <p:spPr>
            <a:xfrm>
              <a:off x="-461963" y="2084387"/>
              <a:ext cx="3121025" cy="2887663"/>
            </a:xfrm>
            <a:custGeom>
              <a:avLst/>
              <a:gdLst/>
              <a:ahLst/>
              <a:cxnLst/>
              <a:rect l="l" t="t" r="r" b="b"/>
              <a:pathLst>
                <a:path w="1449" h="1344" extrusionOk="0">
                  <a:moveTo>
                    <a:pt x="1449" y="577"/>
                  </a:moveTo>
                  <a:cubicBezTo>
                    <a:pt x="1449" y="1320"/>
                    <a:pt x="1449" y="1320"/>
                    <a:pt x="1449" y="1320"/>
                  </a:cubicBezTo>
                  <a:cubicBezTo>
                    <a:pt x="1449" y="1333"/>
                    <a:pt x="1438" y="1344"/>
                    <a:pt x="1425" y="1344"/>
                  </a:cubicBezTo>
                  <a:cubicBezTo>
                    <a:pt x="24" y="1344"/>
                    <a:pt x="24" y="1344"/>
                    <a:pt x="24" y="1344"/>
                  </a:cubicBezTo>
                  <a:cubicBezTo>
                    <a:pt x="11" y="1344"/>
                    <a:pt x="0" y="1333"/>
                    <a:pt x="0" y="1320"/>
                  </a:cubicBezTo>
                  <a:cubicBezTo>
                    <a:pt x="0" y="577"/>
                    <a:pt x="0" y="577"/>
                    <a:pt x="0" y="577"/>
                  </a:cubicBezTo>
                  <a:cubicBezTo>
                    <a:pt x="0" y="568"/>
                    <a:pt x="4" y="561"/>
                    <a:pt x="11" y="557"/>
                  </a:cubicBezTo>
                  <a:cubicBezTo>
                    <a:pt x="196" y="434"/>
                    <a:pt x="196" y="434"/>
                    <a:pt x="196" y="434"/>
                  </a:cubicBezTo>
                  <a:cubicBezTo>
                    <a:pt x="196" y="24"/>
                    <a:pt x="196" y="24"/>
                    <a:pt x="196" y="24"/>
                  </a:cubicBezTo>
                  <a:cubicBezTo>
                    <a:pt x="196" y="11"/>
                    <a:pt x="207" y="0"/>
                    <a:pt x="220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43" y="0"/>
                    <a:pt x="1253" y="11"/>
                    <a:pt x="1253" y="24"/>
                  </a:cubicBezTo>
                  <a:cubicBezTo>
                    <a:pt x="1253" y="434"/>
                    <a:pt x="1253" y="434"/>
                    <a:pt x="1253" y="434"/>
                  </a:cubicBezTo>
                  <a:cubicBezTo>
                    <a:pt x="1438" y="557"/>
                    <a:pt x="1438" y="557"/>
                    <a:pt x="1438" y="557"/>
                  </a:cubicBezTo>
                  <a:cubicBezTo>
                    <a:pt x="1445" y="561"/>
                    <a:pt x="1449" y="568"/>
                    <a:pt x="1449" y="577"/>
                  </a:cubicBezTo>
                  <a:close/>
                  <a:moveTo>
                    <a:pt x="1401" y="1275"/>
                  </a:moveTo>
                  <a:cubicBezTo>
                    <a:pt x="1401" y="617"/>
                    <a:pt x="1401" y="617"/>
                    <a:pt x="1401" y="617"/>
                  </a:cubicBezTo>
                  <a:cubicBezTo>
                    <a:pt x="849" y="909"/>
                    <a:pt x="849" y="909"/>
                    <a:pt x="849" y="909"/>
                  </a:cubicBezTo>
                  <a:lnTo>
                    <a:pt x="1401" y="1275"/>
                  </a:lnTo>
                  <a:close/>
                  <a:moveTo>
                    <a:pt x="1253" y="553"/>
                  </a:moveTo>
                  <a:cubicBezTo>
                    <a:pt x="1345" y="553"/>
                    <a:pt x="1345" y="553"/>
                    <a:pt x="1345" y="553"/>
                  </a:cubicBezTo>
                  <a:cubicBezTo>
                    <a:pt x="1253" y="492"/>
                    <a:pt x="1253" y="492"/>
                    <a:pt x="1253" y="492"/>
                  </a:cubicBezTo>
                  <a:lnTo>
                    <a:pt x="1253" y="553"/>
                  </a:lnTo>
                  <a:close/>
                  <a:moveTo>
                    <a:pt x="104" y="1296"/>
                  </a:moveTo>
                  <a:cubicBezTo>
                    <a:pt x="1345" y="1296"/>
                    <a:pt x="1345" y="1296"/>
                    <a:pt x="1345" y="1296"/>
                  </a:cubicBezTo>
                  <a:cubicBezTo>
                    <a:pt x="725" y="884"/>
                    <a:pt x="725" y="884"/>
                    <a:pt x="725" y="884"/>
                  </a:cubicBezTo>
                  <a:lnTo>
                    <a:pt x="104" y="1296"/>
                  </a:lnTo>
                  <a:close/>
                  <a:moveTo>
                    <a:pt x="1253" y="641"/>
                  </a:moveTo>
                  <a:cubicBezTo>
                    <a:pt x="1329" y="601"/>
                    <a:pt x="1329" y="601"/>
                    <a:pt x="1329" y="601"/>
                  </a:cubicBezTo>
                  <a:cubicBezTo>
                    <a:pt x="1253" y="601"/>
                    <a:pt x="1253" y="601"/>
                    <a:pt x="1253" y="601"/>
                  </a:cubicBezTo>
                  <a:lnTo>
                    <a:pt x="1253" y="641"/>
                  </a:lnTo>
                  <a:close/>
                  <a:moveTo>
                    <a:pt x="1205" y="666"/>
                  </a:moveTo>
                  <a:cubicBezTo>
                    <a:pt x="1205" y="48"/>
                    <a:pt x="1205" y="48"/>
                    <a:pt x="1205" y="48"/>
                  </a:cubicBezTo>
                  <a:cubicBezTo>
                    <a:pt x="244" y="48"/>
                    <a:pt x="244" y="48"/>
                    <a:pt x="244" y="48"/>
                  </a:cubicBezTo>
                  <a:cubicBezTo>
                    <a:pt x="244" y="666"/>
                    <a:pt x="244" y="666"/>
                    <a:pt x="244" y="666"/>
                  </a:cubicBezTo>
                  <a:cubicBezTo>
                    <a:pt x="645" y="879"/>
                    <a:pt x="645" y="879"/>
                    <a:pt x="645" y="879"/>
                  </a:cubicBezTo>
                  <a:cubicBezTo>
                    <a:pt x="711" y="836"/>
                    <a:pt x="711" y="836"/>
                    <a:pt x="711" y="836"/>
                  </a:cubicBezTo>
                  <a:cubicBezTo>
                    <a:pt x="719" y="830"/>
                    <a:pt x="730" y="830"/>
                    <a:pt x="738" y="836"/>
                  </a:cubicBezTo>
                  <a:cubicBezTo>
                    <a:pt x="804" y="879"/>
                    <a:pt x="804" y="879"/>
                    <a:pt x="804" y="879"/>
                  </a:cubicBezTo>
                  <a:lnTo>
                    <a:pt x="1205" y="666"/>
                  </a:lnTo>
                  <a:close/>
                  <a:moveTo>
                    <a:pt x="48" y="1275"/>
                  </a:moveTo>
                  <a:cubicBezTo>
                    <a:pt x="600" y="909"/>
                    <a:pt x="600" y="909"/>
                    <a:pt x="600" y="909"/>
                  </a:cubicBezTo>
                  <a:cubicBezTo>
                    <a:pt x="48" y="617"/>
                    <a:pt x="48" y="617"/>
                    <a:pt x="48" y="617"/>
                  </a:cubicBezTo>
                  <a:lnTo>
                    <a:pt x="48" y="1275"/>
                  </a:lnTo>
                  <a:close/>
                  <a:moveTo>
                    <a:pt x="196" y="641"/>
                  </a:moveTo>
                  <a:cubicBezTo>
                    <a:pt x="196" y="601"/>
                    <a:pt x="196" y="601"/>
                    <a:pt x="196" y="601"/>
                  </a:cubicBezTo>
                  <a:cubicBezTo>
                    <a:pt x="120" y="601"/>
                    <a:pt x="120" y="601"/>
                    <a:pt x="120" y="601"/>
                  </a:cubicBezTo>
                  <a:lnTo>
                    <a:pt x="196" y="641"/>
                  </a:lnTo>
                  <a:close/>
                  <a:moveTo>
                    <a:pt x="196" y="553"/>
                  </a:moveTo>
                  <a:cubicBezTo>
                    <a:pt x="196" y="492"/>
                    <a:pt x="196" y="492"/>
                    <a:pt x="196" y="492"/>
                  </a:cubicBezTo>
                  <a:cubicBezTo>
                    <a:pt x="104" y="553"/>
                    <a:pt x="104" y="553"/>
                    <a:pt x="104" y="553"/>
                  </a:cubicBezTo>
                  <a:lnTo>
                    <a:pt x="196" y="553"/>
                  </a:lnTo>
                  <a:close/>
                  <a:moveTo>
                    <a:pt x="196" y="553"/>
                  </a:moveTo>
                  <a:cubicBezTo>
                    <a:pt x="196" y="553"/>
                    <a:pt x="196" y="553"/>
                    <a:pt x="196" y="553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50" name="Google Shape;437;p31"/>
          <p:cNvGrpSpPr/>
          <p:nvPr/>
        </p:nvGrpSpPr>
        <p:grpSpPr>
          <a:xfrm>
            <a:off x="546502" y="2826305"/>
            <a:ext cx="446281" cy="445157"/>
            <a:chOff x="3175" y="3175"/>
            <a:chExt cx="4410075" cy="4398963"/>
          </a:xfrm>
        </p:grpSpPr>
        <p:sp>
          <p:nvSpPr>
            <p:cNvPr id="251" name="Google Shape;438;p31"/>
            <p:cNvSpPr/>
            <p:nvPr/>
          </p:nvSpPr>
          <p:spPr>
            <a:xfrm>
              <a:off x="269875" y="3175"/>
              <a:ext cx="3876675" cy="2578100"/>
            </a:xfrm>
            <a:custGeom>
              <a:avLst/>
              <a:gdLst/>
              <a:ahLst/>
              <a:cxnLst/>
              <a:rect l="l" t="t" r="r" b="b"/>
              <a:pathLst>
                <a:path w="1800" h="1200" extrusionOk="0">
                  <a:moveTo>
                    <a:pt x="180" y="960"/>
                  </a:moveTo>
                  <a:cubicBezTo>
                    <a:pt x="228" y="960"/>
                    <a:pt x="272" y="941"/>
                    <a:pt x="305" y="909"/>
                  </a:cubicBezTo>
                  <a:cubicBezTo>
                    <a:pt x="482" y="998"/>
                    <a:pt x="482" y="998"/>
                    <a:pt x="482" y="998"/>
                  </a:cubicBezTo>
                  <a:cubicBezTo>
                    <a:pt x="481" y="1005"/>
                    <a:pt x="480" y="1013"/>
                    <a:pt x="480" y="1020"/>
                  </a:cubicBezTo>
                  <a:cubicBezTo>
                    <a:pt x="480" y="1119"/>
                    <a:pt x="561" y="1200"/>
                    <a:pt x="660" y="1200"/>
                  </a:cubicBezTo>
                  <a:cubicBezTo>
                    <a:pt x="759" y="1200"/>
                    <a:pt x="840" y="1119"/>
                    <a:pt x="840" y="1020"/>
                  </a:cubicBezTo>
                  <a:cubicBezTo>
                    <a:pt x="840" y="992"/>
                    <a:pt x="833" y="966"/>
                    <a:pt x="822" y="943"/>
                  </a:cubicBezTo>
                  <a:cubicBezTo>
                    <a:pt x="1063" y="702"/>
                    <a:pt x="1063" y="702"/>
                    <a:pt x="1063" y="702"/>
                  </a:cubicBezTo>
                  <a:cubicBezTo>
                    <a:pt x="1086" y="713"/>
                    <a:pt x="1112" y="720"/>
                    <a:pt x="1140" y="720"/>
                  </a:cubicBezTo>
                  <a:cubicBezTo>
                    <a:pt x="1239" y="720"/>
                    <a:pt x="1320" y="639"/>
                    <a:pt x="1320" y="540"/>
                  </a:cubicBezTo>
                  <a:cubicBezTo>
                    <a:pt x="1320" y="521"/>
                    <a:pt x="1316" y="504"/>
                    <a:pt x="1311" y="487"/>
                  </a:cubicBezTo>
                  <a:cubicBezTo>
                    <a:pt x="1520" y="330"/>
                    <a:pt x="1520" y="330"/>
                    <a:pt x="1520" y="330"/>
                  </a:cubicBezTo>
                  <a:cubicBezTo>
                    <a:pt x="1549" y="349"/>
                    <a:pt x="1583" y="360"/>
                    <a:pt x="1620" y="360"/>
                  </a:cubicBezTo>
                  <a:cubicBezTo>
                    <a:pt x="1719" y="360"/>
                    <a:pt x="1800" y="279"/>
                    <a:pt x="1800" y="180"/>
                  </a:cubicBezTo>
                  <a:cubicBezTo>
                    <a:pt x="1800" y="81"/>
                    <a:pt x="1719" y="0"/>
                    <a:pt x="1620" y="0"/>
                  </a:cubicBezTo>
                  <a:cubicBezTo>
                    <a:pt x="1521" y="0"/>
                    <a:pt x="1440" y="81"/>
                    <a:pt x="1440" y="180"/>
                  </a:cubicBezTo>
                  <a:cubicBezTo>
                    <a:pt x="1440" y="199"/>
                    <a:pt x="1444" y="216"/>
                    <a:pt x="1449" y="233"/>
                  </a:cubicBezTo>
                  <a:cubicBezTo>
                    <a:pt x="1240" y="390"/>
                    <a:pt x="1240" y="390"/>
                    <a:pt x="1240" y="390"/>
                  </a:cubicBezTo>
                  <a:cubicBezTo>
                    <a:pt x="1211" y="371"/>
                    <a:pt x="1177" y="360"/>
                    <a:pt x="1140" y="360"/>
                  </a:cubicBezTo>
                  <a:cubicBezTo>
                    <a:pt x="1041" y="360"/>
                    <a:pt x="960" y="441"/>
                    <a:pt x="960" y="540"/>
                  </a:cubicBezTo>
                  <a:cubicBezTo>
                    <a:pt x="960" y="568"/>
                    <a:pt x="967" y="594"/>
                    <a:pt x="978" y="617"/>
                  </a:cubicBezTo>
                  <a:cubicBezTo>
                    <a:pt x="737" y="858"/>
                    <a:pt x="737" y="858"/>
                    <a:pt x="737" y="858"/>
                  </a:cubicBezTo>
                  <a:cubicBezTo>
                    <a:pt x="714" y="847"/>
                    <a:pt x="688" y="840"/>
                    <a:pt x="660" y="840"/>
                  </a:cubicBezTo>
                  <a:cubicBezTo>
                    <a:pt x="612" y="840"/>
                    <a:pt x="568" y="859"/>
                    <a:pt x="535" y="891"/>
                  </a:cubicBezTo>
                  <a:cubicBezTo>
                    <a:pt x="358" y="802"/>
                    <a:pt x="358" y="802"/>
                    <a:pt x="358" y="802"/>
                  </a:cubicBezTo>
                  <a:cubicBezTo>
                    <a:pt x="359" y="795"/>
                    <a:pt x="360" y="787"/>
                    <a:pt x="360" y="780"/>
                  </a:cubicBezTo>
                  <a:cubicBezTo>
                    <a:pt x="360" y="681"/>
                    <a:pt x="279" y="600"/>
                    <a:pt x="180" y="600"/>
                  </a:cubicBezTo>
                  <a:cubicBezTo>
                    <a:pt x="81" y="600"/>
                    <a:pt x="0" y="681"/>
                    <a:pt x="0" y="780"/>
                  </a:cubicBezTo>
                  <a:cubicBezTo>
                    <a:pt x="0" y="879"/>
                    <a:pt x="81" y="960"/>
                    <a:pt x="180" y="96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2" name="Google Shape;439;p31"/>
            <p:cNvSpPr/>
            <p:nvPr/>
          </p:nvSpPr>
          <p:spPr>
            <a:xfrm>
              <a:off x="3175" y="1292225"/>
              <a:ext cx="4410075" cy="3109913"/>
            </a:xfrm>
            <a:custGeom>
              <a:avLst/>
              <a:gdLst/>
              <a:ahLst/>
              <a:cxnLst/>
              <a:rect l="l" t="t" r="r" b="b"/>
              <a:pathLst>
                <a:path w="2048" h="1448" extrusionOk="0">
                  <a:moveTo>
                    <a:pt x="1988" y="1328"/>
                  </a:moveTo>
                  <a:cubicBezTo>
                    <a:pt x="1924" y="1328"/>
                    <a:pt x="1924" y="1328"/>
                    <a:pt x="1924" y="1328"/>
                  </a:cubicBezTo>
                  <a:cubicBezTo>
                    <a:pt x="1924" y="60"/>
                    <a:pt x="1924" y="60"/>
                    <a:pt x="1924" y="60"/>
                  </a:cubicBezTo>
                  <a:cubicBezTo>
                    <a:pt x="1924" y="27"/>
                    <a:pt x="1897" y="0"/>
                    <a:pt x="1864" y="0"/>
                  </a:cubicBezTo>
                  <a:cubicBezTo>
                    <a:pt x="1624" y="0"/>
                    <a:pt x="1624" y="0"/>
                    <a:pt x="1624" y="0"/>
                  </a:cubicBezTo>
                  <a:cubicBezTo>
                    <a:pt x="1591" y="0"/>
                    <a:pt x="1564" y="27"/>
                    <a:pt x="1564" y="60"/>
                  </a:cubicBezTo>
                  <a:cubicBezTo>
                    <a:pt x="1564" y="1328"/>
                    <a:pt x="1564" y="1328"/>
                    <a:pt x="1564" y="1328"/>
                  </a:cubicBezTo>
                  <a:cubicBezTo>
                    <a:pt x="1444" y="1328"/>
                    <a:pt x="1444" y="1328"/>
                    <a:pt x="1444" y="1328"/>
                  </a:cubicBezTo>
                  <a:cubicBezTo>
                    <a:pt x="1444" y="420"/>
                    <a:pt x="1444" y="420"/>
                    <a:pt x="1444" y="420"/>
                  </a:cubicBezTo>
                  <a:cubicBezTo>
                    <a:pt x="1444" y="387"/>
                    <a:pt x="1417" y="360"/>
                    <a:pt x="1384" y="360"/>
                  </a:cubicBezTo>
                  <a:cubicBezTo>
                    <a:pt x="1144" y="360"/>
                    <a:pt x="1144" y="360"/>
                    <a:pt x="1144" y="360"/>
                  </a:cubicBezTo>
                  <a:cubicBezTo>
                    <a:pt x="1111" y="360"/>
                    <a:pt x="1084" y="387"/>
                    <a:pt x="1084" y="420"/>
                  </a:cubicBezTo>
                  <a:cubicBezTo>
                    <a:pt x="1084" y="1328"/>
                    <a:pt x="1084" y="1328"/>
                    <a:pt x="1084" y="1328"/>
                  </a:cubicBezTo>
                  <a:cubicBezTo>
                    <a:pt x="964" y="1328"/>
                    <a:pt x="964" y="1328"/>
                    <a:pt x="964" y="1328"/>
                  </a:cubicBezTo>
                  <a:cubicBezTo>
                    <a:pt x="964" y="900"/>
                    <a:pt x="964" y="900"/>
                    <a:pt x="964" y="900"/>
                  </a:cubicBezTo>
                  <a:cubicBezTo>
                    <a:pt x="964" y="867"/>
                    <a:pt x="937" y="840"/>
                    <a:pt x="904" y="840"/>
                  </a:cubicBezTo>
                  <a:cubicBezTo>
                    <a:pt x="664" y="840"/>
                    <a:pt x="664" y="840"/>
                    <a:pt x="664" y="840"/>
                  </a:cubicBezTo>
                  <a:cubicBezTo>
                    <a:pt x="631" y="840"/>
                    <a:pt x="604" y="867"/>
                    <a:pt x="604" y="900"/>
                  </a:cubicBezTo>
                  <a:cubicBezTo>
                    <a:pt x="604" y="1328"/>
                    <a:pt x="604" y="1328"/>
                    <a:pt x="604" y="1328"/>
                  </a:cubicBezTo>
                  <a:cubicBezTo>
                    <a:pt x="484" y="1328"/>
                    <a:pt x="484" y="1328"/>
                    <a:pt x="484" y="1328"/>
                  </a:cubicBezTo>
                  <a:cubicBezTo>
                    <a:pt x="484" y="660"/>
                    <a:pt x="484" y="660"/>
                    <a:pt x="484" y="660"/>
                  </a:cubicBezTo>
                  <a:cubicBezTo>
                    <a:pt x="484" y="627"/>
                    <a:pt x="457" y="600"/>
                    <a:pt x="424" y="600"/>
                  </a:cubicBezTo>
                  <a:cubicBezTo>
                    <a:pt x="184" y="600"/>
                    <a:pt x="184" y="600"/>
                    <a:pt x="184" y="600"/>
                  </a:cubicBezTo>
                  <a:cubicBezTo>
                    <a:pt x="151" y="600"/>
                    <a:pt x="124" y="627"/>
                    <a:pt x="124" y="660"/>
                  </a:cubicBezTo>
                  <a:cubicBezTo>
                    <a:pt x="124" y="1328"/>
                    <a:pt x="124" y="1328"/>
                    <a:pt x="124" y="1328"/>
                  </a:cubicBezTo>
                  <a:cubicBezTo>
                    <a:pt x="60" y="1328"/>
                    <a:pt x="60" y="1328"/>
                    <a:pt x="60" y="1328"/>
                  </a:cubicBezTo>
                  <a:cubicBezTo>
                    <a:pt x="27" y="1328"/>
                    <a:pt x="0" y="1355"/>
                    <a:pt x="0" y="1388"/>
                  </a:cubicBezTo>
                  <a:cubicBezTo>
                    <a:pt x="0" y="1421"/>
                    <a:pt x="27" y="1448"/>
                    <a:pt x="60" y="1448"/>
                  </a:cubicBezTo>
                  <a:cubicBezTo>
                    <a:pt x="1988" y="1448"/>
                    <a:pt x="1988" y="1448"/>
                    <a:pt x="1988" y="1448"/>
                  </a:cubicBezTo>
                  <a:cubicBezTo>
                    <a:pt x="2021" y="1448"/>
                    <a:pt x="2048" y="1421"/>
                    <a:pt x="2048" y="1388"/>
                  </a:cubicBezTo>
                  <a:cubicBezTo>
                    <a:pt x="2048" y="1355"/>
                    <a:pt x="2021" y="1328"/>
                    <a:pt x="1988" y="132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24578" name="Picture 2" descr="Receiver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762" y="4376764"/>
            <a:ext cx="489371" cy="4893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3" name="Google Shape;1373;p19"/>
          <p:cNvSpPr/>
          <p:nvPr/>
        </p:nvSpPr>
        <p:spPr>
          <a:xfrm>
            <a:off x="8114175" y="3832277"/>
            <a:ext cx="521258" cy="391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90000" y="81896"/>
                </a:moveTo>
                <a:lnTo>
                  <a:pt x="88873" y="82023"/>
                </a:lnTo>
                <a:lnTo>
                  <a:pt x="87776" y="82341"/>
                </a:lnTo>
                <a:lnTo>
                  <a:pt x="86741" y="82849"/>
                </a:lnTo>
                <a:lnTo>
                  <a:pt x="85827" y="83516"/>
                </a:lnTo>
                <a:lnTo>
                  <a:pt x="85035" y="84343"/>
                </a:lnTo>
                <a:lnTo>
                  <a:pt x="84395" y="85296"/>
                </a:lnTo>
                <a:lnTo>
                  <a:pt x="83908" y="86345"/>
                </a:lnTo>
                <a:lnTo>
                  <a:pt x="83604" y="87521"/>
                </a:lnTo>
                <a:lnTo>
                  <a:pt x="83482" y="88697"/>
                </a:lnTo>
                <a:lnTo>
                  <a:pt x="83604" y="89872"/>
                </a:lnTo>
                <a:lnTo>
                  <a:pt x="83908" y="91016"/>
                </a:lnTo>
                <a:lnTo>
                  <a:pt x="84395" y="92097"/>
                </a:lnTo>
                <a:lnTo>
                  <a:pt x="85035" y="93050"/>
                </a:lnTo>
                <a:lnTo>
                  <a:pt x="85827" y="93877"/>
                </a:lnTo>
                <a:lnTo>
                  <a:pt x="86741" y="94544"/>
                </a:lnTo>
                <a:lnTo>
                  <a:pt x="87776" y="95052"/>
                </a:lnTo>
                <a:lnTo>
                  <a:pt x="88873" y="95370"/>
                </a:lnTo>
                <a:lnTo>
                  <a:pt x="90000" y="95497"/>
                </a:lnTo>
                <a:lnTo>
                  <a:pt x="91126" y="95370"/>
                </a:lnTo>
                <a:lnTo>
                  <a:pt x="92223" y="95052"/>
                </a:lnTo>
                <a:lnTo>
                  <a:pt x="93258" y="94544"/>
                </a:lnTo>
                <a:lnTo>
                  <a:pt x="94172" y="93877"/>
                </a:lnTo>
                <a:lnTo>
                  <a:pt x="94964" y="93050"/>
                </a:lnTo>
                <a:lnTo>
                  <a:pt x="95604" y="92097"/>
                </a:lnTo>
                <a:lnTo>
                  <a:pt x="96091" y="91016"/>
                </a:lnTo>
                <a:lnTo>
                  <a:pt x="96395" y="89872"/>
                </a:lnTo>
                <a:lnTo>
                  <a:pt x="96517" y="88697"/>
                </a:lnTo>
                <a:lnTo>
                  <a:pt x="96395" y="87521"/>
                </a:lnTo>
                <a:lnTo>
                  <a:pt x="96091" y="86345"/>
                </a:lnTo>
                <a:lnTo>
                  <a:pt x="95604" y="85296"/>
                </a:lnTo>
                <a:lnTo>
                  <a:pt x="94964" y="84343"/>
                </a:lnTo>
                <a:lnTo>
                  <a:pt x="94172" y="83516"/>
                </a:lnTo>
                <a:lnTo>
                  <a:pt x="93258" y="82849"/>
                </a:lnTo>
                <a:lnTo>
                  <a:pt x="92223" y="82341"/>
                </a:lnTo>
                <a:lnTo>
                  <a:pt x="91126" y="82023"/>
                </a:lnTo>
                <a:lnTo>
                  <a:pt x="90000" y="81896"/>
                </a:lnTo>
                <a:close/>
                <a:moveTo>
                  <a:pt x="99989" y="71504"/>
                </a:moveTo>
                <a:lnTo>
                  <a:pt x="98862" y="71567"/>
                </a:lnTo>
                <a:lnTo>
                  <a:pt x="97766" y="71949"/>
                </a:lnTo>
                <a:lnTo>
                  <a:pt x="96761" y="72457"/>
                </a:lnTo>
                <a:lnTo>
                  <a:pt x="95878" y="73125"/>
                </a:lnTo>
                <a:lnTo>
                  <a:pt x="95086" y="73951"/>
                </a:lnTo>
                <a:lnTo>
                  <a:pt x="94416" y="74904"/>
                </a:lnTo>
                <a:lnTo>
                  <a:pt x="93928" y="75921"/>
                </a:lnTo>
                <a:lnTo>
                  <a:pt x="93593" y="77065"/>
                </a:lnTo>
                <a:lnTo>
                  <a:pt x="93532" y="78273"/>
                </a:lnTo>
                <a:lnTo>
                  <a:pt x="93593" y="79449"/>
                </a:lnTo>
                <a:lnTo>
                  <a:pt x="93928" y="80593"/>
                </a:lnTo>
                <a:lnTo>
                  <a:pt x="94416" y="81610"/>
                </a:lnTo>
                <a:lnTo>
                  <a:pt x="95086" y="82563"/>
                </a:lnTo>
                <a:lnTo>
                  <a:pt x="95878" y="83389"/>
                </a:lnTo>
                <a:lnTo>
                  <a:pt x="96761" y="84057"/>
                </a:lnTo>
                <a:lnTo>
                  <a:pt x="97766" y="84597"/>
                </a:lnTo>
                <a:lnTo>
                  <a:pt x="98862" y="84947"/>
                </a:lnTo>
                <a:lnTo>
                  <a:pt x="99989" y="85010"/>
                </a:lnTo>
                <a:lnTo>
                  <a:pt x="101147" y="84947"/>
                </a:lnTo>
                <a:lnTo>
                  <a:pt x="102243" y="84597"/>
                </a:lnTo>
                <a:lnTo>
                  <a:pt x="103218" y="84057"/>
                </a:lnTo>
                <a:lnTo>
                  <a:pt x="104131" y="83389"/>
                </a:lnTo>
                <a:lnTo>
                  <a:pt x="104923" y="82563"/>
                </a:lnTo>
                <a:lnTo>
                  <a:pt x="105563" y="81610"/>
                </a:lnTo>
                <a:lnTo>
                  <a:pt x="106050" y="80593"/>
                </a:lnTo>
                <a:lnTo>
                  <a:pt x="106385" y="79449"/>
                </a:lnTo>
                <a:lnTo>
                  <a:pt x="106477" y="78273"/>
                </a:lnTo>
                <a:lnTo>
                  <a:pt x="106385" y="77065"/>
                </a:lnTo>
                <a:lnTo>
                  <a:pt x="106050" y="75921"/>
                </a:lnTo>
                <a:lnTo>
                  <a:pt x="105563" y="74904"/>
                </a:lnTo>
                <a:lnTo>
                  <a:pt x="104923" y="73951"/>
                </a:lnTo>
                <a:lnTo>
                  <a:pt x="104131" y="73125"/>
                </a:lnTo>
                <a:lnTo>
                  <a:pt x="103218" y="72457"/>
                </a:lnTo>
                <a:lnTo>
                  <a:pt x="102243" y="71949"/>
                </a:lnTo>
                <a:lnTo>
                  <a:pt x="101147" y="71567"/>
                </a:lnTo>
                <a:lnTo>
                  <a:pt x="99989" y="71504"/>
                </a:lnTo>
                <a:close/>
                <a:moveTo>
                  <a:pt x="80010" y="71504"/>
                </a:moveTo>
                <a:lnTo>
                  <a:pt x="78852" y="71567"/>
                </a:lnTo>
                <a:lnTo>
                  <a:pt x="77756" y="71949"/>
                </a:lnTo>
                <a:lnTo>
                  <a:pt x="76751" y="72457"/>
                </a:lnTo>
                <a:lnTo>
                  <a:pt x="75837" y="73125"/>
                </a:lnTo>
                <a:lnTo>
                  <a:pt x="75076" y="73951"/>
                </a:lnTo>
                <a:lnTo>
                  <a:pt x="74436" y="74904"/>
                </a:lnTo>
                <a:lnTo>
                  <a:pt x="73949" y="75921"/>
                </a:lnTo>
                <a:lnTo>
                  <a:pt x="73644" y="77065"/>
                </a:lnTo>
                <a:lnTo>
                  <a:pt x="73522" y="78273"/>
                </a:lnTo>
                <a:lnTo>
                  <a:pt x="73644" y="79449"/>
                </a:lnTo>
                <a:lnTo>
                  <a:pt x="73949" y="80593"/>
                </a:lnTo>
                <a:lnTo>
                  <a:pt x="74436" y="81610"/>
                </a:lnTo>
                <a:lnTo>
                  <a:pt x="75076" y="82563"/>
                </a:lnTo>
                <a:lnTo>
                  <a:pt x="75837" y="83389"/>
                </a:lnTo>
                <a:lnTo>
                  <a:pt x="76751" y="84057"/>
                </a:lnTo>
                <a:lnTo>
                  <a:pt x="77756" y="84597"/>
                </a:lnTo>
                <a:lnTo>
                  <a:pt x="78852" y="84947"/>
                </a:lnTo>
                <a:lnTo>
                  <a:pt x="80010" y="85010"/>
                </a:lnTo>
                <a:lnTo>
                  <a:pt x="81137" y="84947"/>
                </a:lnTo>
                <a:lnTo>
                  <a:pt x="82233" y="84597"/>
                </a:lnTo>
                <a:lnTo>
                  <a:pt x="83269" y="84057"/>
                </a:lnTo>
                <a:lnTo>
                  <a:pt x="84152" y="83389"/>
                </a:lnTo>
                <a:lnTo>
                  <a:pt x="84913" y="82563"/>
                </a:lnTo>
                <a:lnTo>
                  <a:pt x="85614" y="81610"/>
                </a:lnTo>
                <a:lnTo>
                  <a:pt x="86101" y="80593"/>
                </a:lnTo>
                <a:lnTo>
                  <a:pt x="86406" y="79449"/>
                </a:lnTo>
                <a:lnTo>
                  <a:pt x="86497" y="78273"/>
                </a:lnTo>
                <a:lnTo>
                  <a:pt x="86406" y="77065"/>
                </a:lnTo>
                <a:lnTo>
                  <a:pt x="86101" y="75921"/>
                </a:lnTo>
                <a:lnTo>
                  <a:pt x="85614" y="74904"/>
                </a:lnTo>
                <a:lnTo>
                  <a:pt x="84913" y="73951"/>
                </a:lnTo>
                <a:lnTo>
                  <a:pt x="84152" y="73125"/>
                </a:lnTo>
                <a:lnTo>
                  <a:pt x="83269" y="72457"/>
                </a:lnTo>
                <a:lnTo>
                  <a:pt x="82233" y="71949"/>
                </a:lnTo>
                <a:lnTo>
                  <a:pt x="81137" y="71567"/>
                </a:lnTo>
                <a:lnTo>
                  <a:pt x="80010" y="71504"/>
                </a:lnTo>
                <a:close/>
                <a:moveTo>
                  <a:pt x="25005" y="62605"/>
                </a:moveTo>
                <a:lnTo>
                  <a:pt x="25005" y="73029"/>
                </a:lnTo>
                <a:lnTo>
                  <a:pt x="14984" y="73029"/>
                </a:lnTo>
                <a:lnTo>
                  <a:pt x="14984" y="83485"/>
                </a:lnTo>
                <a:lnTo>
                  <a:pt x="25005" y="83485"/>
                </a:lnTo>
                <a:lnTo>
                  <a:pt x="25005" y="93908"/>
                </a:lnTo>
                <a:lnTo>
                  <a:pt x="34994" y="93908"/>
                </a:lnTo>
                <a:lnTo>
                  <a:pt x="34994" y="83485"/>
                </a:lnTo>
                <a:lnTo>
                  <a:pt x="44984" y="83485"/>
                </a:lnTo>
                <a:lnTo>
                  <a:pt x="44984" y="73029"/>
                </a:lnTo>
                <a:lnTo>
                  <a:pt x="34994" y="73029"/>
                </a:lnTo>
                <a:lnTo>
                  <a:pt x="34994" y="62605"/>
                </a:lnTo>
                <a:lnTo>
                  <a:pt x="25005" y="62605"/>
                </a:lnTo>
                <a:close/>
                <a:moveTo>
                  <a:pt x="90000" y="61016"/>
                </a:moveTo>
                <a:lnTo>
                  <a:pt x="88873" y="61144"/>
                </a:lnTo>
                <a:lnTo>
                  <a:pt x="87776" y="61461"/>
                </a:lnTo>
                <a:lnTo>
                  <a:pt x="86741" y="61970"/>
                </a:lnTo>
                <a:lnTo>
                  <a:pt x="85827" y="62637"/>
                </a:lnTo>
                <a:lnTo>
                  <a:pt x="85035" y="63463"/>
                </a:lnTo>
                <a:lnTo>
                  <a:pt x="84395" y="64417"/>
                </a:lnTo>
                <a:lnTo>
                  <a:pt x="83908" y="65497"/>
                </a:lnTo>
                <a:lnTo>
                  <a:pt x="83604" y="66641"/>
                </a:lnTo>
                <a:lnTo>
                  <a:pt x="83482" y="67817"/>
                </a:lnTo>
                <a:lnTo>
                  <a:pt x="83604" y="69025"/>
                </a:lnTo>
                <a:lnTo>
                  <a:pt x="83908" y="70169"/>
                </a:lnTo>
                <a:lnTo>
                  <a:pt x="84395" y="71218"/>
                </a:lnTo>
                <a:lnTo>
                  <a:pt x="85035" y="72171"/>
                </a:lnTo>
                <a:lnTo>
                  <a:pt x="85827" y="72997"/>
                </a:lnTo>
                <a:lnTo>
                  <a:pt x="86741" y="73665"/>
                </a:lnTo>
                <a:lnTo>
                  <a:pt x="87776" y="74173"/>
                </a:lnTo>
                <a:lnTo>
                  <a:pt x="88873" y="74491"/>
                </a:lnTo>
                <a:lnTo>
                  <a:pt x="90000" y="74618"/>
                </a:lnTo>
                <a:lnTo>
                  <a:pt x="91126" y="74491"/>
                </a:lnTo>
                <a:lnTo>
                  <a:pt x="92223" y="74173"/>
                </a:lnTo>
                <a:lnTo>
                  <a:pt x="93258" y="73665"/>
                </a:lnTo>
                <a:lnTo>
                  <a:pt x="94172" y="72997"/>
                </a:lnTo>
                <a:lnTo>
                  <a:pt x="94964" y="72171"/>
                </a:lnTo>
                <a:lnTo>
                  <a:pt x="95604" y="71218"/>
                </a:lnTo>
                <a:lnTo>
                  <a:pt x="96091" y="70169"/>
                </a:lnTo>
                <a:lnTo>
                  <a:pt x="96395" y="69025"/>
                </a:lnTo>
                <a:lnTo>
                  <a:pt x="96517" y="67817"/>
                </a:lnTo>
                <a:lnTo>
                  <a:pt x="96395" y="66641"/>
                </a:lnTo>
                <a:lnTo>
                  <a:pt x="96091" y="65497"/>
                </a:lnTo>
                <a:lnTo>
                  <a:pt x="95604" y="64417"/>
                </a:lnTo>
                <a:lnTo>
                  <a:pt x="94964" y="63463"/>
                </a:lnTo>
                <a:lnTo>
                  <a:pt x="94172" y="62637"/>
                </a:lnTo>
                <a:lnTo>
                  <a:pt x="93258" y="61970"/>
                </a:lnTo>
                <a:lnTo>
                  <a:pt x="92223" y="61461"/>
                </a:lnTo>
                <a:lnTo>
                  <a:pt x="91126" y="61144"/>
                </a:lnTo>
                <a:lnTo>
                  <a:pt x="90000" y="61016"/>
                </a:lnTo>
                <a:close/>
                <a:moveTo>
                  <a:pt x="115005" y="0"/>
                </a:moveTo>
                <a:lnTo>
                  <a:pt x="115979" y="127"/>
                </a:lnTo>
                <a:lnTo>
                  <a:pt x="116923" y="413"/>
                </a:lnTo>
                <a:lnTo>
                  <a:pt x="117807" y="921"/>
                </a:lnTo>
                <a:lnTo>
                  <a:pt x="118507" y="1557"/>
                </a:lnTo>
                <a:lnTo>
                  <a:pt x="119116" y="2288"/>
                </a:lnTo>
                <a:lnTo>
                  <a:pt x="119604" y="3209"/>
                </a:lnTo>
                <a:lnTo>
                  <a:pt x="119878" y="4194"/>
                </a:lnTo>
                <a:lnTo>
                  <a:pt x="120000" y="5211"/>
                </a:lnTo>
                <a:lnTo>
                  <a:pt x="119969" y="6292"/>
                </a:lnTo>
                <a:lnTo>
                  <a:pt x="119878" y="7436"/>
                </a:lnTo>
                <a:lnTo>
                  <a:pt x="119725" y="8612"/>
                </a:lnTo>
                <a:lnTo>
                  <a:pt x="119512" y="9883"/>
                </a:lnTo>
                <a:lnTo>
                  <a:pt x="119208" y="11154"/>
                </a:lnTo>
                <a:lnTo>
                  <a:pt x="118873" y="12457"/>
                </a:lnTo>
                <a:lnTo>
                  <a:pt x="118416" y="13760"/>
                </a:lnTo>
                <a:lnTo>
                  <a:pt x="117868" y="15095"/>
                </a:lnTo>
                <a:lnTo>
                  <a:pt x="117258" y="16430"/>
                </a:lnTo>
                <a:lnTo>
                  <a:pt x="116588" y="17796"/>
                </a:lnTo>
                <a:lnTo>
                  <a:pt x="115796" y="19099"/>
                </a:lnTo>
                <a:lnTo>
                  <a:pt x="114883" y="20402"/>
                </a:lnTo>
                <a:lnTo>
                  <a:pt x="113908" y="21673"/>
                </a:lnTo>
                <a:lnTo>
                  <a:pt x="112812" y="22881"/>
                </a:lnTo>
                <a:lnTo>
                  <a:pt x="111593" y="24025"/>
                </a:lnTo>
                <a:lnTo>
                  <a:pt x="110253" y="25169"/>
                </a:lnTo>
                <a:lnTo>
                  <a:pt x="108822" y="26218"/>
                </a:lnTo>
                <a:lnTo>
                  <a:pt x="107269" y="27203"/>
                </a:lnTo>
                <a:lnTo>
                  <a:pt x="105563" y="28093"/>
                </a:lnTo>
                <a:lnTo>
                  <a:pt x="103736" y="28887"/>
                </a:lnTo>
                <a:lnTo>
                  <a:pt x="101817" y="29618"/>
                </a:lnTo>
                <a:lnTo>
                  <a:pt x="99715" y="30190"/>
                </a:lnTo>
                <a:lnTo>
                  <a:pt x="97522" y="30667"/>
                </a:lnTo>
                <a:lnTo>
                  <a:pt x="95147" y="31016"/>
                </a:lnTo>
                <a:lnTo>
                  <a:pt x="92649" y="31239"/>
                </a:lnTo>
                <a:lnTo>
                  <a:pt x="90000" y="31302"/>
                </a:lnTo>
                <a:lnTo>
                  <a:pt x="87624" y="31398"/>
                </a:lnTo>
                <a:lnTo>
                  <a:pt x="85370" y="31588"/>
                </a:lnTo>
                <a:lnTo>
                  <a:pt x="83269" y="31906"/>
                </a:lnTo>
                <a:lnTo>
                  <a:pt x="81319" y="32319"/>
                </a:lnTo>
                <a:lnTo>
                  <a:pt x="79492" y="32891"/>
                </a:lnTo>
                <a:lnTo>
                  <a:pt x="77847" y="33527"/>
                </a:lnTo>
                <a:lnTo>
                  <a:pt x="76294" y="34258"/>
                </a:lnTo>
                <a:lnTo>
                  <a:pt x="74832" y="35084"/>
                </a:lnTo>
                <a:lnTo>
                  <a:pt x="73522" y="36006"/>
                </a:lnTo>
                <a:lnTo>
                  <a:pt x="72335" y="36991"/>
                </a:lnTo>
                <a:lnTo>
                  <a:pt x="71238" y="38072"/>
                </a:lnTo>
                <a:lnTo>
                  <a:pt x="70263" y="39216"/>
                </a:lnTo>
                <a:lnTo>
                  <a:pt x="69380" y="40423"/>
                </a:lnTo>
                <a:lnTo>
                  <a:pt x="68588" y="41663"/>
                </a:lnTo>
                <a:lnTo>
                  <a:pt x="67918" y="42966"/>
                </a:lnTo>
                <a:lnTo>
                  <a:pt x="67309" y="44300"/>
                </a:lnTo>
                <a:lnTo>
                  <a:pt x="66791" y="45699"/>
                </a:lnTo>
                <a:lnTo>
                  <a:pt x="66365" y="47065"/>
                </a:lnTo>
                <a:lnTo>
                  <a:pt x="65969" y="48495"/>
                </a:lnTo>
                <a:lnTo>
                  <a:pt x="65664" y="49957"/>
                </a:lnTo>
                <a:lnTo>
                  <a:pt x="65421" y="51419"/>
                </a:lnTo>
                <a:lnTo>
                  <a:pt x="66883" y="50942"/>
                </a:lnTo>
                <a:lnTo>
                  <a:pt x="68253" y="50402"/>
                </a:lnTo>
                <a:lnTo>
                  <a:pt x="69593" y="49766"/>
                </a:lnTo>
                <a:lnTo>
                  <a:pt x="70781" y="49099"/>
                </a:lnTo>
                <a:lnTo>
                  <a:pt x="72000" y="48336"/>
                </a:lnTo>
                <a:lnTo>
                  <a:pt x="73187" y="47574"/>
                </a:lnTo>
                <a:lnTo>
                  <a:pt x="74314" y="46843"/>
                </a:lnTo>
                <a:lnTo>
                  <a:pt x="75502" y="46048"/>
                </a:lnTo>
                <a:lnTo>
                  <a:pt x="76659" y="45286"/>
                </a:lnTo>
                <a:lnTo>
                  <a:pt x="77878" y="44586"/>
                </a:lnTo>
                <a:lnTo>
                  <a:pt x="79126" y="43919"/>
                </a:lnTo>
                <a:lnTo>
                  <a:pt x="80436" y="43315"/>
                </a:lnTo>
                <a:lnTo>
                  <a:pt x="81837" y="42775"/>
                </a:lnTo>
                <a:lnTo>
                  <a:pt x="83329" y="42330"/>
                </a:lnTo>
                <a:lnTo>
                  <a:pt x="84913" y="42012"/>
                </a:lnTo>
                <a:lnTo>
                  <a:pt x="86619" y="41822"/>
                </a:lnTo>
                <a:lnTo>
                  <a:pt x="88477" y="41726"/>
                </a:lnTo>
                <a:lnTo>
                  <a:pt x="90030" y="41853"/>
                </a:lnTo>
                <a:lnTo>
                  <a:pt x="91614" y="42171"/>
                </a:lnTo>
                <a:lnTo>
                  <a:pt x="93228" y="42775"/>
                </a:lnTo>
                <a:lnTo>
                  <a:pt x="94873" y="43506"/>
                </a:lnTo>
                <a:lnTo>
                  <a:pt x="96578" y="44491"/>
                </a:lnTo>
                <a:lnTo>
                  <a:pt x="98253" y="45730"/>
                </a:lnTo>
                <a:lnTo>
                  <a:pt x="99959" y="47129"/>
                </a:lnTo>
                <a:lnTo>
                  <a:pt x="101664" y="48654"/>
                </a:lnTo>
                <a:lnTo>
                  <a:pt x="103340" y="50402"/>
                </a:lnTo>
                <a:lnTo>
                  <a:pt x="104984" y="52341"/>
                </a:lnTo>
                <a:lnTo>
                  <a:pt x="106598" y="54438"/>
                </a:lnTo>
                <a:lnTo>
                  <a:pt x="108182" y="56663"/>
                </a:lnTo>
                <a:lnTo>
                  <a:pt x="109705" y="59046"/>
                </a:lnTo>
                <a:lnTo>
                  <a:pt x="111137" y="61588"/>
                </a:lnTo>
                <a:lnTo>
                  <a:pt x="112507" y="64258"/>
                </a:lnTo>
                <a:lnTo>
                  <a:pt x="113786" y="67086"/>
                </a:lnTo>
                <a:lnTo>
                  <a:pt x="115005" y="70010"/>
                </a:lnTo>
                <a:lnTo>
                  <a:pt x="116101" y="73029"/>
                </a:lnTo>
                <a:lnTo>
                  <a:pt x="117045" y="76207"/>
                </a:lnTo>
                <a:lnTo>
                  <a:pt x="117898" y="79480"/>
                </a:lnTo>
                <a:lnTo>
                  <a:pt x="118629" y="82817"/>
                </a:lnTo>
                <a:lnTo>
                  <a:pt x="119208" y="86250"/>
                </a:lnTo>
                <a:lnTo>
                  <a:pt x="119664" y="89745"/>
                </a:lnTo>
                <a:lnTo>
                  <a:pt x="119878" y="93368"/>
                </a:lnTo>
                <a:lnTo>
                  <a:pt x="120000" y="97023"/>
                </a:lnTo>
                <a:lnTo>
                  <a:pt x="119908" y="99565"/>
                </a:lnTo>
                <a:lnTo>
                  <a:pt x="119725" y="101917"/>
                </a:lnTo>
                <a:lnTo>
                  <a:pt x="119421" y="104173"/>
                </a:lnTo>
                <a:lnTo>
                  <a:pt x="119025" y="106239"/>
                </a:lnTo>
                <a:lnTo>
                  <a:pt x="118507" y="108177"/>
                </a:lnTo>
                <a:lnTo>
                  <a:pt x="117898" y="109957"/>
                </a:lnTo>
                <a:lnTo>
                  <a:pt x="117197" y="111578"/>
                </a:lnTo>
                <a:lnTo>
                  <a:pt x="116406" y="113040"/>
                </a:lnTo>
                <a:lnTo>
                  <a:pt x="115553" y="114375"/>
                </a:lnTo>
                <a:lnTo>
                  <a:pt x="114609" y="115582"/>
                </a:lnTo>
                <a:lnTo>
                  <a:pt x="113634" y="116599"/>
                </a:lnTo>
                <a:lnTo>
                  <a:pt x="112568" y="117489"/>
                </a:lnTo>
                <a:lnTo>
                  <a:pt x="111472" y="118252"/>
                </a:lnTo>
                <a:lnTo>
                  <a:pt x="110345" y="118887"/>
                </a:lnTo>
                <a:lnTo>
                  <a:pt x="109157" y="119364"/>
                </a:lnTo>
                <a:lnTo>
                  <a:pt x="107939" y="119713"/>
                </a:lnTo>
                <a:lnTo>
                  <a:pt x="106751" y="119904"/>
                </a:lnTo>
                <a:lnTo>
                  <a:pt x="105502" y="120000"/>
                </a:lnTo>
                <a:lnTo>
                  <a:pt x="104101" y="119904"/>
                </a:lnTo>
                <a:lnTo>
                  <a:pt x="102730" y="119682"/>
                </a:lnTo>
                <a:lnTo>
                  <a:pt x="101421" y="119332"/>
                </a:lnTo>
                <a:lnTo>
                  <a:pt x="100172" y="118855"/>
                </a:lnTo>
                <a:lnTo>
                  <a:pt x="99015" y="118252"/>
                </a:lnTo>
                <a:lnTo>
                  <a:pt x="97827" y="117584"/>
                </a:lnTo>
                <a:lnTo>
                  <a:pt x="96730" y="116790"/>
                </a:lnTo>
                <a:lnTo>
                  <a:pt x="95634" y="115932"/>
                </a:lnTo>
                <a:lnTo>
                  <a:pt x="94568" y="114947"/>
                </a:lnTo>
                <a:lnTo>
                  <a:pt x="93532" y="113961"/>
                </a:lnTo>
                <a:lnTo>
                  <a:pt x="92467" y="112849"/>
                </a:lnTo>
                <a:lnTo>
                  <a:pt x="91401" y="111737"/>
                </a:lnTo>
                <a:lnTo>
                  <a:pt x="90335" y="110561"/>
                </a:lnTo>
                <a:lnTo>
                  <a:pt x="89269" y="109353"/>
                </a:lnTo>
                <a:lnTo>
                  <a:pt x="88172" y="108177"/>
                </a:lnTo>
                <a:lnTo>
                  <a:pt x="87045" y="106938"/>
                </a:lnTo>
                <a:lnTo>
                  <a:pt x="85918" y="105730"/>
                </a:lnTo>
                <a:lnTo>
                  <a:pt x="84700" y="104491"/>
                </a:lnTo>
                <a:lnTo>
                  <a:pt x="83482" y="103315"/>
                </a:lnTo>
                <a:lnTo>
                  <a:pt x="82203" y="102139"/>
                </a:lnTo>
                <a:lnTo>
                  <a:pt x="80832" y="101027"/>
                </a:lnTo>
                <a:lnTo>
                  <a:pt x="79401" y="99947"/>
                </a:lnTo>
                <a:lnTo>
                  <a:pt x="77908" y="98930"/>
                </a:lnTo>
                <a:lnTo>
                  <a:pt x="76324" y="97976"/>
                </a:lnTo>
                <a:lnTo>
                  <a:pt x="74649" y="97118"/>
                </a:lnTo>
                <a:lnTo>
                  <a:pt x="72913" y="96324"/>
                </a:lnTo>
                <a:lnTo>
                  <a:pt x="71055" y="95593"/>
                </a:lnTo>
                <a:lnTo>
                  <a:pt x="69076" y="95021"/>
                </a:lnTo>
                <a:lnTo>
                  <a:pt x="67005" y="94544"/>
                </a:lnTo>
                <a:lnTo>
                  <a:pt x="64812" y="94194"/>
                </a:lnTo>
                <a:lnTo>
                  <a:pt x="62467" y="93972"/>
                </a:lnTo>
                <a:lnTo>
                  <a:pt x="60000" y="93908"/>
                </a:lnTo>
                <a:lnTo>
                  <a:pt x="57532" y="93972"/>
                </a:lnTo>
                <a:lnTo>
                  <a:pt x="55218" y="94194"/>
                </a:lnTo>
                <a:lnTo>
                  <a:pt x="53025" y="94544"/>
                </a:lnTo>
                <a:lnTo>
                  <a:pt x="50954" y="95021"/>
                </a:lnTo>
                <a:lnTo>
                  <a:pt x="48974" y="95593"/>
                </a:lnTo>
                <a:lnTo>
                  <a:pt x="47116" y="96324"/>
                </a:lnTo>
                <a:lnTo>
                  <a:pt x="45350" y="97118"/>
                </a:lnTo>
                <a:lnTo>
                  <a:pt x="43675" y="97976"/>
                </a:lnTo>
                <a:lnTo>
                  <a:pt x="42121" y="98930"/>
                </a:lnTo>
                <a:lnTo>
                  <a:pt x="40598" y="99947"/>
                </a:lnTo>
                <a:lnTo>
                  <a:pt x="39197" y="101027"/>
                </a:lnTo>
                <a:lnTo>
                  <a:pt x="37827" y="102139"/>
                </a:lnTo>
                <a:lnTo>
                  <a:pt x="36548" y="103315"/>
                </a:lnTo>
                <a:lnTo>
                  <a:pt x="35299" y="104491"/>
                </a:lnTo>
                <a:lnTo>
                  <a:pt x="34081" y="105730"/>
                </a:lnTo>
                <a:lnTo>
                  <a:pt x="32954" y="106938"/>
                </a:lnTo>
                <a:lnTo>
                  <a:pt x="31827" y="108177"/>
                </a:lnTo>
                <a:lnTo>
                  <a:pt x="30730" y="109353"/>
                </a:lnTo>
                <a:lnTo>
                  <a:pt x="29664" y="110561"/>
                </a:lnTo>
                <a:lnTo>
                  <a:pt x="28598" y="111737"/>
                </a:lnTo>
                <a:lnTo>
                  <a:pt x="27532" y="112849"/>
                </a:lnTo>
                <a:lnTo>
                  <a:pt x="26467" y="113961"/>
                </a:lnTo>
                <a:lnTo>
                  <a:pt x="25401" y="114947"/>
                </a:lnTo>
                <a:lnTo>
                  <a:pt x="24365" y="115932"/>
                </a:lnTo>
                <a:lnTo>
                  <a:pt x="23269" y="116790"/>
                </a:lnTo>
                <a:lnTo>
                  <a:pt x="22172" y="117584"/>
                </a:lnTo>
                <a:lnTo>
                  <a:pt x="20984" y="118252"/>
                </a:lnTo>
                <a:lnTo>
                  <a:pt x="19796" y="118855"/>
                </a:lnTo>
                <a:lnTo>
                  <a:pt x="18548" y="119332"/>
                </a:lnTo>
                <a:lnTo>
                  <a:pt x="17269" y="119682"/>
                </a:lnTo>
                <a:lnTo>
                  <a:pt x="15898" y="119904"/>
                </a:lnTo>
                <a:lnTo>
                  <a:pt x="14497" y="120000"/>
                </a:lnTo>
                <a:lnTo>
                  <a:pt x="13187" y="119872"/>
                </a:lnTo>
                <a:lnTo>
                  <a:pt x="11908" y="119650"/>
                </a:lnTo>
                <a:lnTo>
                  <a:pt x="10598" y="119205"/>
                </a:lnTo>
                <a:lnTo>
                  <a:pt x="9380" y="118601"/>
                </a:lnTo>
                <a:lnTo>
                  <a:pt x="8192" y="117870"/>
                </a:lnTo>
                <a:lnTo>
                  <a:pt x="7035" y="116949"/>
                </a:lnTo>
                <a:lnTo>
                  <a:pt x="5939" y="115868"/>
                </a:lnTo>
                <a:lnTo>
                  <a:pt x="4934" y="114661"/>
                </a:lnTo>
                <a:lnTo>
                  <a:pt x="3989" y="113262"/>
                </a:lnTo>
                <a:lnTo>
                  <a:pt x="3106" y="111737"/>
                </a:lnTo>
                <a:lnTo>
                  <a:pt x="2345" y="110084"/>
                </a:lnTo>
                <a:lnTo>
                  <a:pt x="1675" y="108241"/>
                </a:lnTo>
                <a:lnTo>
                  <a:pt x="1065" y="106271"/>
                </a:lnTo>
                <a:lnTo>
                  <a:pt x="609" y="104173"/>
                </a:lnTo>
                <a:lnTo>
                  <a:pt x="274" y="101917"/>
                </a:lnTo>
                <a:lnTo>
                  <a:pt x="60" y="99565"/>
                </a:lnTo>
                <a:lnTo>
                  <a:pt x="0" y="97023"/>
                </a:lnTo>
                <a:lnTo>
                  <a:pt x="60" y="93368"/>
                </a:lnTo>
                <a:lnTo>
                  <a:pt x="335" y="89745"/>
                </a:lnTo>
                <a:lnTo>
                  <a:pt x="761" y="86250"/>
                </a:lnTo>
                <a:lnTo>
                  <a:pt x="1370" y="82817"/>
                </a:lnTo>
                <a:lnTo>
                  <a:pt x="2071" y="79480"/>
                </a:lnTo>
                <a:lnTo>
                  <a:pt x="2923" y="76207"/>
                </a:lnTo>
                <a:lnTo>
                  <a:pt x="3898" y="73029"/>
                </a:lnTo>
                <a:lnTo>
                  <a:pt x="4994" y="70010"/>
                </a:lnTo>
                <a:lnTo>
                  <a:pt x="6213" y="67086"/>
                </a:lnTo>
                <a:lnTo>
                  <a:pt x="7492" y="64258"/>
                </a:lnTo>
                <a:lnTo>
                  <a:pt x="8862" y="61588"/>
                </a:lnTo>
                <a:lnTo>
                  <a:pt x="10294" y="59046"/>
                </a:lnTo>
                <a:lnTo>
                  <a:pt x="11817" y="56663"/>
                </a:lnTo>
                <a:lnTo>
                  <a:pt x="13401" y="54438"/>
                </a:lnTo>
                <a:lnTo>
                  <a:pt x="14984" y="52341"/>
                </a:lnTo>
                <a:lnTo>
                  <a:pt x="16659" y="50402"/>
                </a:lnTo>
                <a:lnTo>
                  <a:pt x="18335" y="48654"/>
                </a:lnTo>
                <a:lnTo>
                  <a:pt x="20040" y="47129"/>
                </a:lnTo>
                <a:lnTo>
                  <a:pt x="21746" y="45730"/>
                </a:lnTo>
                <a:lnTo>
                  <a:pt x="23421" y="44491"/>
                </a:lnTo>
                <a:lnTo>
                  <a:pt x="25126" y="43506"/>
                </a:lnTo>
                <a:lnTo>
                  <a:pt x="26741" y="42775"/>
                </a:lnTo>
                <a:lnTo>
                  <a:pt x="28355" y="42171"/>
                </a:lnTo>
                <a:lnTo>
                  <a:pt x="29969" y="41853"/>
                </a:lnTo>
                <a:lnTo>
                  <a:pt x="31461" y="41726"/>
                </a:lnTo>
                <a:lnTo>
                  <a:pt x="33289" y="41790"/>
                </a:lnTo>
                <a:lnTo>
                  <a:pt x="34964" y="42012"/>
                </a:lnTo>
                <a:lnTo>
                  <a:pt x="36548" y="42330"/>
                </a:lnTo>
                <a:lnTo>
                  <a:pt x="37979" y="42711"/>
                </a:lnTo>
                <a:lnTo>
                  <a:pt x="39350" y="43252"/>
                </a:lnTo>
                <a:lnTo>
                  <a:pt x="40629" y="43824"/>
                </a:lnTo>
                <a:lnTo>
                  <a:pt x="41878" y="44491"/>
                </a:lnTo>
                <a:lnTo>
                  <a:pt x="43065" y="45190"/>
                </a:lnTo>
                <a:lnTo>
                  <a:pt x="44192" y="45921"/>
                </a:lnTo>
                <a:lnTo>
                  <a:pt x="45350" y="46684"/>
                </a:lnTo>
                <a:lnTo>
                  <a:pt x="46477" y="47415"/>
                </a:lnTo>
                <a:lnTo>
                  <a:pt x="47604" y="48146"/>
                </a:lnTo>
                <a:lnTo>
                  <a:pt x="48761" y="48877"/>
                </a:lnTo>
                <a:lnTo>
                  <a:pt x="49949" y="49576"/>
                </a:lnTo>
                <a:lnTo>
                  <a:pt x="51167" y="50211"/>
                </a:lnTo>
                <a:lnTo>
                  <a:pt x="52507" y="50783"/>
                </a:lnTo>
                <a:lnTo>
                  <a:pt x="53908" y="51260"/>
                </a:lnTo>
                <a:lnTo>
                  <a:pt x="55370" y="51673"/>
                </a:lnTo>
                <a:lnTo>
                  <a:pt x="55522" y="50402"/>
                </a:lnTo>
                <a:lnTo>
                  <a:pt x="55705" y="49099"/>
                </a:lnTo>
                <a:lnTo>
                  <a:pt x="55979" y="47733"/>
                </a:lnTo>
                <a:lnTo>
                  <a:pt x="56284" y="46366"/>
                </a:lnTo>
                <a:lnTo>
                  <a:pt x="56619" y="44936"/>
                </a:lnTo>
                <a:lnTo>
                  <a:pt x="57045" y="43474"/>
                </a:lnTo>
                <a:lnTo>
                  <a:pt x="57532" y="42012"/>
                </a:lnTo>
                <a:lnTo>
                  <a:pt x="58050" y="40550"/>
                </a:lnTo>
                <a:lnTo>
                  <a:pt x="58720" y="39088"/>
                </a:lnTo>
                <a:lnTo>
                  <a:pt x="59390" y="37627"/>
                </a:lnTo>
                <a:lnTo>
                  <a:pt x="60182" y="36165"/>
                </a:lnTo>
                <a:lnTo>
                  <a:pt x="61005" y="34735"/>
                </a:lnTo>
                <a:lnTo>
                  <a:pt x="62010" y="33336"/>
                </a:lnTo>
                <a:lnTo>
                  <a:pt x="63015" y="31970"/>
                </a:lnTo>
                <a:lnTo>
                  <a:pt x="64172" y="30667"/>
                </a:lnTo>
                <a:lnTo>
                  <a:pt x="65421" y="29364"/>
                </a:lnTo>
                <a:lnTo>
                  <a:pt x="66791" y="28188"/>
                </a:lnTo>
                <a:lnTo>
                  <a:pt x="68253" y="27044"/>
                </a:lnTo>
                <a:lnTo>
                  <a:pt x="69837" y="25963"/>
                </a:lnTo>
                <a:lnTo>
                  <a:pt x="71543" y="24978"/>
                </a:lnTo>
                <a:lnTo>
                  <a:pt x="73370" y="24057"/>
                </a:lnTo>
                <a:lnTo>
                  <a:pt x="75289" y="23294"/>
                </a:lnTo>
                <a:lnTo>
                  <a:pt x="77390" y="22563"/>
                </a:lnTo>
                <a:lnTo>
                  <a:pt x="79614" y="21991"/>
                </a:lnTo>
                <a:lnTo>
                  <a:pt x="81989" y="21514"/>
                </a:lnTo>
                <a:lnTo>
                  <a:pt x="84517" y="21133"/>
                </a:lnTo>
                <a:lnTo>
                  <a:pt x="87167" y="20942"/>
                </a:lnTo>
                <a:lnTo>
                  <a:pt x="90000" y="20879"/>
                </a:lnTo>
                <a:lnTo>
                  <a:pt x="92192" y="20783"/>
                </a:lnTo>
                <a:lnTo>
                  <a:pt x="94203" y="20593"/>
                </a:lnTo>
                <a:lnTo>
                  <a:pt x="96091" y="20307"/>
                </a:lnTo>
                <a:lnTo>
                  <a:pt x="97796" y="19925"/>
                </a:lnTo>
                <a:lnTo>
                  <a:pt x="99350" y="19417"/>
                </a:lnTo>
                <a:lnTo>
                  <a:pt x="100781" y="18813"/>
                </a:lnTo>
                <a:lnTo>
                  <a:pt x="102091" y="18177"/>
                </a:lnTo>
                <a:lnTo>
                  <a:pt x="103248" y="17478"/>
                </a:lnTo>
                <a:lnTo>
                  <a:pt x="104314" y="16684"/>
                </a:lnTo>
                <a:lnTo>
                  <a:pt x="105228" y="15889"/>
                </a:lnTo>
                <a:lnTo>
                  <a:pt x="106050" y="15031"/>
                </a:lnTo>
                <a:lnTo>
                  <a:pt x="106781" y="14141"/>
                </a:lnTo>
                <a:lnTo>
                  <a:pt x="107421" y="13283"/>
                </a:lnTo>
                <a:lnTo>
                  <a:pt x="107939" y="12425"/>
                </a:lnTo>
                <a:lnTo>
                  <a:pt x="108395" y="11504"/>
                </a:lnTo>
                <a:lnTo>
                  <a:pt x="108791" y="10677"/>
                </a:lnTo>
                <a:lnTo>
                  <a:pt x="109126" y="9851"/>
                </a:lnTo>
                <a:lnTo>
                  <a:pt x="109401" y="9057"/>
                </a:lnTo>
                <a:lnTo>
                  <a:pt x="109583" y="8294"/>
                </a:lnTo>
                <a:lnTo>
                  <a:pt x="109736" y="7595"/>
                </a:lnTo>
                <a:lnTo>
                  <a:pt x="109857" y="6959"/>
                </a:lnTo>
                <a:lnTo>
                  <a:pt x="109918" y="6451"/>
                </a:lnTo>
                <a:lnTo>
                  <a:pt x="109949" y="5974"/>
                </a:lnTo>
                <a:lnTo>
                  <a:pt x="110010" y="5625"/>
                </a:lnTo>
                <a:lnTo>
                  <a:pt x="110010" y="5370"/>
                </a:lnTo>
                <a:lnTo>
                  <a:pt x="110010" y="5211"/>
                </a:lnTo>
                <a:lnTo>
                  <a:pt x="110101" y="4194"/>
                </a:lnTo>
                <a:lnTo>
                  <a:pt x="110406" y="3209"/>
                </a:lnTo>
                <a:lnTo>
                  <a:pt x="110862" y="2288"/>
                </a:lnTo>
                <a:lnTo>
                  <a:pt x="111472" y="1557"/>
                </a:lnTo>
                <a:lnTo>
                  <a:pt x="112203" y="921"/>
                </a:lnTo>
                <a:lnTo>
                  <a:pt x="113025" y="413"/>
                </a:lnTo>
                <a:lnTo>
                  <a:pt x="113969" y="127"/>
                </a:lnTo>
                <a:lnTo>
                  <a:pt x="115005" y="0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0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5377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/>
          <p:cNvSpPr/>
          <p:nvPr/>
        </p:nvSpPr>
        <p:spPr>
          <a:xfrm>
            <a:off x="4073236" y="124687"/>
            <a:ext cx="1246909" cy="259773"/>
          </a:xfrm>
          <a:prstGeom prst="rect">
            <a:avLst/>
          </a:prstGeom>
          <a:solidFill>
            <a:srgbClr val="000000">
              <a:lumMod val="50000"/>
              <a:lumOff val="5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COVERY</a:t>
            </a:r>
          </a:p>
        </p:txBody>
      </p:sp>
      <p:sp>
        <p:nvSpPr>
          <p:cNvPr id="37" name="Rectangle 36"/>
          <p:cNvSpPr/>
          <p:nvPr/>
        </p:nvSpPr>
        <p:spPr>
          <a:xfrm>
            <a:off x="6567054" y="120997"/>
            <a:ext cx="1246909" cy="259773"/>
          </a:xfrm>
          <a:prstGeom prst="rect">
            <a:avLst/>
          </a:prstGeom>
          <a:solidFill>
            <a:srgbClr val="000000">
              <a:lumMod val="50000"/>
              <a:lumOff val="5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LEMENTATION</a:t>
            </a:r>
          </a:p>
        </p:txBody>
      </p:sp>
      <p:sp>
        <p:nvSpPr>
          <p:cNvPr id="38" name="Rectangle 37"/>
          <p:cNvSpPr/>
          <p:nvPr/>
        </p:nvSpPr>
        <p:spPr>
          <a:xfrm>
            <a:off x="7813963" y="120997"/>
            <a:ext cx="1246909" cy="259773"/>
          </a:xfrm>
          <a:prstGeom prst="rect">
            <a:avLst/>
          </a:prstGeom>
          <a:solidFill>
            <a:srgbClr val="000000">
              <a:lumMod val="50000"/>
              <a:lumOff val="5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ERATIONS</a:t>
            </a:r>
          </a:p>
        </p:txBody>
      </p:sp>
      <p:sp>
        <p:nvSpPr>
          <p:cNvPr id="39" name="Rectangle 38"/>
          <p:cNvSpPr/>
          <p:nvPr/>
        </p:nvSpPr>
        <p:spPr>
          <a:xfrm>
            <a:off x="5320145" y="122842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OLUTIONING</a:t>
            </a:r>
            <a:endParaRPr lang="en-US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2826327" y="122842"/>
            <a:ext cx="1246909" cy="259773"/>
          </a:xfrm>
          <a:prstGeom prst="rect">
            <a:avLst/>
          </a:prstGeom>
          <a:solidFill>
            <a:srgbClr val="FF0000">
              <a:lumMod val="60000"/>
              <a:lumOff val="4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EATION</a:t>
            </a:r>
          </a:p>
        </p:txBody>
      </p:sp>
      <p:grpSp>
        <p:nvGrpSpPr>
          <p:cNvPr id="61" name="Google Shape;384;p31"/>
          <p:cNvGrpSpPr/>
          <p:nvPr/>
        </p:nvGrpSpPr>
        <p:grpSpPr>
          <a:xfrm>
            <a:off x="5976497" y="1064963"/>
            <a:ext cx="2514361" cy="3576196"/>
            <a:chOff x="1341912" y="1365662"/>
            <a:chExt cx="2458192" cy="4349338"/>
          </a:xfrm>
        </p:grpSpPr>
        <p:sp>
          <p:nvSpPr>
            <p:cNvPr id="62" name="Google Shape;385;p31"/>
            <p:cNvSpPr/>
            <p:nvPr/>
          </p:nvSpPr>
          <p:spPr>
            <a:xfrm>
              <a:off x="1341912" y="1365662"/>
              <a:ext cx="2458192" cy="181692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50800" dist="38100" dir="8100000" algn="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386;p31"/>
            <p:cNvSpPr/>
            <p:nvPr/>
          </p:nvSpPr>
          <p:spPr>
            <a:xfrm flipH="1">
              <a:off x="1341912" y="1365662"/>
              <a:ext cx="2458192" cy="1816925"/>
            </a:xfrm>
            <a:prstGeom prst="rtTriangle">
              <a:avLst/>
            </a:prstGeom>
            <a:solidFill>
              <a:srgbClr val="0077B0">
                <a:alpha val="69803"/>
              </a:srgbClr>
            </a:solidFill>
            <a:ln>
              <a:noFill/>
            </a:ln>
            <a:effectLst>
              <a:outerShdw blurRad="50800" dist="38100" dir="8100000" algn="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" name="Google Shape;387;p31"/>
            <p:cNvSpPr/>
            <p:nvPr/>
          </p:nvSpPr>
          <p:spPr>
            <a:xfrm>
              <a:off x="1341912" y="3182586"/>
              <a:ext cx="2458192" cy="2532414"/>
            </a:xfrm>
            <a:prstGeom prst="rect">
              <a:avLst/>
            </a:prstGeom>
            <a:solidFill>
              <a:srgbClr val="595959"/>
            </a:solidFill>
            <a:ln>
              <a:noFill/>
            </a:ln>
            <a:effectLst>
              <a:outerShdw blurRad="50800" dist="38100" dir="8100000" algn="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PH" sz="1800" dirty="0" smtClean="0">
                  <a:solidFill>
                    <a:schemeClr val="lt1"/>
                  </a:solidFill>
                  <a:ea typeface="Calibri"/>
                </a:rPr>
                <a:t>Determine ROI of initiative</a:t>
              </a:r>
              <a:endParaRPr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6" name="Google Shape;399;p31"/>
          <p:cNvSpPr/>
          <p:nvPr/>
        </p:nvSpPr>
        <p:spPr>
          <a:xfrm>
            <a:off x="7685085" y="1969605"/>
            <a:ext cx="719267" cy="427510"/>
          </a:xfrm>
          <a:custGeom>
            <a:avLst/>
            <a:gdLst/>
            <a:ahLst/>
            <a:cxnLst/>
            <a:rect l="l" t="t" r="r" b="b"/>
            <a:pathLst>
              <a:path w="4515" h="3471" extrusionOk="0">
                <a:moveTo>
                  <a:pt x="2580" y="2621"/>
                </a:moveTo>
                <a:lnTo>
                  <a:pt x="2638" y="2625"/>
                </a:lnTo>
                <a:lnTo>
                  <a:pt x="2693" y="2636"/>
                </a:lnTo>
                <a:lnTo>
                  <a:pt x="2745" y="2654"/>
                </a:lnTo>
                <a:lnTo>
                  <a:pt x="2794" y="2679"/>
                </a:lnTo>
                <a:lnTo>
                  <a:pt x="2840" y="2709"/>
                </a:lnTo>
                <a:lnTo>
                  <a:pt x="2880" y="2745"/>
                </a:lnTo>
                <a:lnTo>
                  <a:pt x="2917" y="2786"/>
                </a:lnTo>
                <a:lnTo>
                  <a:pt x="2947" y="2832"/>
                </a:lnTo>
                <a:lnTo>
                  <a:pt x="2972" y="2880"/>
                </a:lnTo>
                <a:lnTo>
                  <a:pt x="2990" y="2932"/>
                </a:lnTo>
                <a:lnTo>
                  <a:pt x="3001" y="2989"/>
                </a:lnTo>
                <a:lnTo>
                  <a:pt x="3005" y="3045"/>
                </a:lnTo>
                <a:lnTo>
                  <a:pt x="3001" y="3103"/>
                </a:lnTo>
                <a:lnTo>
                  <a:pt x="2990" y="3158"/>
                </a:lnTo>
                <a:lnTo>
                  <a:pt x="2972" y="3210"/>
                </a:lnTo>
                <a:lnTo>
                  <a:pt x="2947" y="3260"/>
                </a:lnTo>
                <a:lnTo>
                  <a:pt x="2917" y="3305"/>
                </a:lnTo>
                <a:lnTo>
                  <a:pt x="2880" y="3345"/>
                </a:lnTo>
                <a:lnTo>
                  <a:pt x="2840" y="3383"/>
                </a:lnTo>
                <a:lnTo>
                  <a:pt x="2794" y="3413"/>
                </a:lnTo>
                <a:lnTo>
                  <a:pt x="2745" y="3438"/>
                </a:lnTo>
                <a:lnTo>
                  <a:pt x="2693" y="3456"/>
                </a:lnTo>
                <a:lnTo>
                  <a:pt x="2638" y="3467"/>
                </a:lnTo>
                <a:lnTo>
                  <a:pt x="2580" y="3471"/>
                </a:lnTo>
                <a:lnTo>
                  <a:pt x="2524" y="3467"/>
                </a:lnTo>
                <a:lnTo>
                  <a:pt x="2467" y="3456"/>
                </a:lnTo>
                <a:lnTo>
                  <a:pt x="2415" y="3438"/>
                </a:lnTo>
                <a:lnTo>
                  <a:pt x="2367" y="3413"/>
                </a:lnTo>
                <a:lnTo>
                  <a:pt x="2322" y="3383"/>
                </a:lnTo>
                <a:lnTo>
                  <a:pt x="2280" y="3345"/>
                </a:lnTo>
                <a:lnTo>
                  <a:pt x="2245" y="3305"/>
                </a:lnTo>
                <a:lnTo>
                  <a:pt x="2214" y="3260"/>
                </a:lnTo>
                <a:lnTo>
                  <a:pt x="2190" y="3210"/>
                </a:lnTo>
                <a:lnTo>
                  <a:pt x="2172" y="3158"/>
                </a:lnTo>
                <a:lnTo>
                  <a:pt x="2159" y="3103"/>
                </a:lnTo>
                <a:lnTo>
                  <a:pt x="2157" y="3045"/>
                </a:lnTo>
                <a:lnTo>
                  <a:pt x="2159" y="2989"/>
                </a:lnTo>
                <a:lnTo>
                  <a:pt x="2172" y="2932"/>
                </a:lnTo>
                <a:lnTo>
                  <a:pt x="2190" y="2880"/>
                </a:lnTo>
                <a:lnTo>
                  <a:pt x="2214" y="2832"/>
                </a:lnTo>
                <a:lnTo>
                  <a:pt x="2245" y="2786"/>
                </a:lnTo>
                <a:lnTo>
                  <a:pt x="2280" y="2745"/>
                </a:lnTo>
                <a:lnTo>
                  <a:pt x="2322" y="2709"/>
                </a:lnTo>
                <a:lnTo>
                  <a:pt x="2367" y="2679"/>
                </a:lnTo>
                <a:lnTo>
                  <a:pt x="2415" y="2654"/>
                </a:lnTo>
                <a:lnTo>
                  <a:pt x="2467" y="2636"/>
                </a:lnTo>
                <a:lnTo>
                  <a:pt x="2524" y="2625"/>
                </a:lnTo>
                <a:lnTo>
                  <a:pt x="2580" y="2621"/>
                </a:lnTo>
                <a:close/>
                <a:moveTo>
                  <a:pt x="1045" y="2621"/>
                </a:moveTo>
                <a:lnTo>
                  <a:pt x="1101" y="2625"/>
                </a:lnTo>
                <a:lnTo>
                  <a:pt x="1157" y="2636"/>
                </a:lnTo>
                <a:lnTo>
                  <a:pt x="1210" y="2654"/>
                </a:lnTo>
                <a:lnTo>
                  <a:pt x="1258" y="2679"/>
                </a:lnTo>
                <a:lnTo>
                  <a:pt x="1303" y="2709"/>
                </a:lnTo>
                <a:lnTo>
                  <a:pt x="1344" y="2745"/>
                </a:lnTo>
                <a:lnTo>
                  <a:pt x="1380" y="2786"/>
                </a:lnTo>
                <a:lnTo>
                  <a:pt x="1410" y="2832"/>
                </a:lnTo>
                <a:lnTo>
                  <a:pt x="1435" y="2880"/>
                </a:lnTo>
                <a:lnTo>
                  <a:pt x="1453" y="2932"/>
                </a:lnTo>
                <a:lnTo>
                  <a:pt x="1464" y="2989"/>
                </a:lnTo>
                <a:lnTo>
                  <a:pt x="1468" y="3045"/>
                </a:lnTo>
                <a:lnTo>
                  <a:pt x="1464" y="3103"/>
                </a:lnTo>
                <a:lnTo>
                  <a:pt x="1453" y="3158"/>
                </a:lnTo>
                <a:lnTo>
                  <a:pt x="1435" y="3210"/>
                </a:lnTo>
                <a:lnTo>
                  <a:pt x="1410" y="3260"/>
                </a:lnTo>
                <a:lnTo>
                  <a:pt x="1380" y="3305"/>
                </a:lnTo>
                <a:lnTo>
                  <a:pt x="1344" y="3345"/>
                </a:lnTo>
                <a:lnTo>
                  <a:pt x="1303" y="3383"/>
                </a:lnTo>
                <a:lnTo>
                  <a:pt x="1258" y="3413"/>
                </a:lnTo>
                <a:lnTo>
                  <a:pt x="1210" y="3438"/>
                </a:lnTo>
                <a:lnTo>
                  <a:pt x="1157" y="3456"/>
                </a:lnTo>
                <a:lnTo>
                  <a:pt x="1101" y="3467"/>
                </a:lnTo>
                <a:lnTo>
                  <a:pt x="1045" y="3471"/>
                </a:lnTo>
                <a:lnTo>
                  <a:pt x="987" y="3467"/>
                </a:lnTo>
                <a:lnTo>
                  <a:pt x="932" y="3456"/>
                </a:lnTo>
                <a:lnTo>
                  <a:pt x="880" y="3438"/>
                </a:lnTo>
                <a:lnTo>
                  <a:pt x="830" y="3413"/>
                </a:lnTo>
                <a:lnTo>
                  <a:pt x="785" y="3383"/>
                </a:lnTo>
                <a:lnTo>
                  <a:pt x="745" y="3345"/>
                </a:lnTo>
                <a:lnTo>
                  <a:pt x="708" y="3305"/>
                </a:lnTo>
                <a:lnTo>
                  <a:pt x="678" y="3260"/>
                </a:lnTo>
                <a:lnTo>
                  <a:pt x="653" y="3210"/>
                </a:lnTo>
                <a:lnTo>
                  <a:pt x="635" y="3158"/>
                </a:lnTo>
                <a:lnTo>
                  <a:pt x="624" y="3103"/>
                </a:lnTo>
                <a:lnTo>
                  <a:pt x="620" y="3045"/>
                </a:lnTo>
                <a:lnTo>
                  <a:pt x="624" y="2989"/>
                </a:lnTo>
                <a:lnTo>
                  <a:pt x="635" y="2932"/>
                </a:lnTo>
                <a:lnTo>
                  <a:pt x="653" y="2880"/>
                </a:lnTo>
                <a:lnTo>
                  <a:pt x="678" y="2832"/>
                </a:lnTo>
                <a:lnTo>
                  <a:pt x="708" y="2786"/>
                </a:lnTo>
                <a:lnTo>
                  <a:pt x="745" y="2745"/>
                </a:lnTo>
                <a:lnTo>
                  <a:pt x="785" y="2709"/>
                </a:lnTo>
                <a:lnTo>
                  <a:pt x="830" y="2679"/>
                </a:lnTo>
                <a:lnTo>
                  <a:pt x="880" y="2654"/>
                </a:lnTo>
                <a:lnTo>
                  <a:pt x="932" y="2636"/>
                </a:lnTo>
                <a:lnTo>
                  <a:pt x="987" y="2625"/>
                </a:lnTo>
                <a:lnTo>
                  <a:pt x="1045" y="2621"/>
                </a:lnTo>
                <a:close/>
                <a:moveTo>
                  <a:pt x="2328" y="1777"/>
                </a:moveTo>
                <a:lnTo>
                  <a:pt x="2348" y="1780"/>
                </a:lnTo>
                <a:lnTo>
                  <a:pt x="2361" y="1791"/>
                </a:lnTo>
                <a:lnTo>
                  <a:pt x="2372" y="1805"/>
                </a:lnTo>
                <a:lnTo>
                  <a:pt x="2375" y="1824"/>
                </a:lnTo>
                <a:lnTo>
                  <a:pt x="2372" y="1842"/>
                </a:lnTo>
                <a:lnTo>
                  <a:pt x="2361" y="1857"/>
                </a:lnTo>
                <a:lnTo>
                  <a:pt x="2348" y="1867"/>
                </a:lnTo>
                <a:lnTo>
                  <a:pt x="2328" y="1871"/>
                </a:lnTo>
                <a:lnTo>
                  <a:pt x="2311" y="1867"/>
                </a:lnTo>
                <a:lnTo>
                  <a:pt x="2295" y="1857"/>
                </a:lnTo>
                <a:lnTo>
                  <a:pt x="2286" y="1842"/>
                </a:lnTo>
                <a:lnTo>
                  <a:pt x="2282" y="1824"/>
                </a:lnTo>
                <a:lnTo>
                  <a:pt x="2286" y="1806"/>
                </a:lnTo>
                <a:lnTo>
                  <a:pt x="2295" y="1791"/>
                </a:lnTo>
                <a:lnTo>
                  <a:pt x="2311" y="1780"/>
                </a:lnTo>
                <a:lnTo>
                  <a:pt x="2328" y="1777"/>
                </a:lnTo>
                <a:close/>
                <a:moveTo>
                  <a:pt x="964" y="1777"/>
                </a:moveTo>
                <a:lnTo>
                  <a:pt x="983" y="1780"/>
                </a:lnTo>
                <a:lnTo>
                  <a:pt x="997" y="1791"/>
                </a:lnTo>
                <a:lnTo>
                  <a:pt x="1008" y="1805"/>
                </a:lnTo>
                <a:lnTo>
                  <a:pt x="1010" y="1824"/>
                </a:lnTo>
                <a:lnTo>
                  <a:pt x="1008" y="1842"/>
                </a:lnTo>
                <a:lnTo>
                  <a:pt x="997" y="1857"/>
                </a:lnTo>
                <a:lnTo>
                  <a:pt x="983" y="1867"/>
                </a:lnTo>
                <a:lnTo>
                  <a:pt x="964" y="1871"/>
                </a:lnTo>
                <a:lnTo>
                  <a:pt x="946" y="1867"/>
                </a:lnTo>
                <a:lnTo>
                  <a:pt x="931" y="1857"/>
                </a:lnTo>
                <a:lnTo>
                  <a:pt x="921" y="1842"/>
                </a:lnTo>
                <a:lnTo>
                  <a:pt x="917" y="1824"/>
                </a:lnTo>
                <a:lnTo>
                  <a:pt x="921" y="1805"/>
                </a:lnTo>
                <a:lnTo>
                  <a:pt x="931" y="1791"/>
                </a:lnTo>
                <a:lnTo>
                  <a:pt x="946" y="1780"/>
                </a:lnTo>
                <a:lnTo>
                  <a:pt x="964" y="1777"/>
                </a:lnTo>
                <a:close/>
                <a:moveTo>
                  <a:pt x="1652" y="1399"/>
                </a:moveTo>
                <a:lnTo>
                  <a:pt x="1113" y="1938"/>
                </a:lnTo>
                <a:lnTo>
                  <a:pt x="2190" y="1938"/>
                </a:lnTo>
                <a:lnTo>
                  <a:pt x="1652" y="1399"/>
                </a:lnTo>
                <a:close/>
                <a:moveTo>
                  <a:pt x="2433" y="617"/>
                </a:moveTo>
                <a:lnTo>
                  <a:pt x="1894" y="1157"/>
                </a:lnTo>
                <a:lnTo>
                  <a:pt x="2433" y="1695"/>
                </a:lnTo>
                <a:lnTo>
                  <a:pt x="2433" y="617"/>
                </a:lnTo>
                <a:close/>
                <a:moveTo>
                  <a:pt x="870" y="617"/>
                </a:moveTo>
                <a:lnTo>
                  <a:pt x="870" y="1695"/>
                </a:lnTo>
                <a:lnTo>
                  <a:pt x="1409" y="1157"/>
                </a:lnTo>
                <a:lnTo>
                  <a:pt x="870" y="617"/>
                </a:lnTo>
                <a:close/>
                <a:moveTo>
                  <a:pt x="2328" y="426"/>
                </a:moveTo>
                <a:lnTo>
                  <a:pt x="2348" y="430"/>
                </a:lnTo>
                <a:lnTo>
                  <a:pt x="2361" y="439"/>
                </a:lnTo>
                <a:lnTo>
                  <a:pt x="2372" y="454"/>
                </a:lnTo>
                <a:lnTo>
                  <a:pt x="2375" y="472"/>
                </a:lnTo>
                <a:lnTo>
                  <a:pt x="2372" y="490"/>
                </a:lnTo>
                <a:lnTo>
                  <a:pt x="2361" y="505"/>
                </a:lnTo>
                <a:lnTo>
                  <a:pt x="2348" y="516"/>
                </a:lnTo>
                <a:lnTo>
                  <a:pt x="2328" y="519"/>
                </a:lnTo>
                <a:lnTo>
                  <a:pt x="2311" y="516"/>
                </a:lnTo>
                <a:lnTo>
                  <a:pt x="2295" y="505"/>
                </a:lnTo>
                <a:lnTo>
                  <a:pt x="2286" y="490"/>
                </a:lnTo>
                <a:lnTo>
                  <a:pt x="2282" y="472"/>
                </a:lnTo>
                <a:lnTo>
                  <a:pt x="2286" y="454"/>
                </a:lnTo>
                <a:lnTo>
                  <a:pt x="2295" y="439"/>
                </a:lnTo>
                <a:lnTo>
                  <a:pt x="2311" y="430"/>
                </a:lnTo>
                <a:lnTo>
                  <a:pt x="2328" y="426"/>
                </a:lnTo>
                <a:close/>
                <a:moveTo>
                  <a:pt x="964" y="426"/>
                </a:moveTo>
                <a:lnTo>
                  <a:pt x="983" y="430"/>
                </a:lnTo>
                <a:lnTo>
                  <a:pt x="997" y="439"/>
                </a:lnTo>
                <a:lnTo>
                  <a:pt x="1008" y="454"/>
                </a:lnTo>
                <a:lnTo>
                  <a:pt x="1010" y="472"/>
                </a:lnTo>
                <a:lnTo>
                  <a:pt x="1008" y="490"/>
                </a:lnTo>
                <a:lnTo>
                  <a:pt x="997" y="505"/>
                </a:lnTo>
                <a:lnTo>
                  <a:pt x="983" y="516"/>
                </a:lnTo>
                <a:lnTo>
                  <a:pt x="964" y="519"/>
                </a:lnTo>
                <a:lnTo>
                  <a:pt x="946" y="516"/>
                </a:lnTo>
                <a:lnTo>
                  <a:pt x="931" y="505"/>
                </a:lnTo>
                <a:lnTo>
                  <a:pt x="921" y="490"/>
                </a:lnTo>
                <a:lnTo>
                  <a:pt x="917" y="472"/>
                </a:lnTo>
                <a:lnTo>
                  <a:pt x="921" y="454"/>
                </a:lnTo>
                <a:lnTo>
                  <a:pt x="931" y="439"/>
                </a:lnTo>
                <a:lnTo>
                  <a:pt x="946" y="430"/>
                </a:lnTo>
                <a:lnTo>
                  <a:pt x="964" y="426"/>
                </a:lnTo>
                <a:close/>
                <a:moveTo>
                  <a:pt x="1113" y="373"/>
                </a:moveTo>
                <a:lnTo>
                  <a:pt x="1652" y="913"/>
                </a:lnTo>
                <a:lnTo>
                  <a:pt x="2190" y="373"/>
                </a:lnTo>
                <a:lnTo>
                  <a:pt x="1113" y="373"/>
                </a:lnTo>
                <a:close/>
                <a:moveTo>
                  <a:pt x="909" y="373"/>
                </a:moveTo>
                <a:lnTo>
                  <a:pt x="870" y="412"/>
                </a:lnTo>
                <a:lnTo>
                  <a:pt x="870" y="529"/>
                </a:lnTo>
                <a:lnTo>
                  <a:pt x="1497" y="1157"/>
                </a:lnTo>
                <a:lnTo>
                  <a:pt x="870" y="1784"/>
                </a:lnTo>
                <a:lnTo>
                  <a:pt x="870" y="1901"/>
                </a:lnTo>
                <a:lnTo>
                  <a:pt x="909" y="1938"/>
                </a:lnTo>
                <a:lnTo>
                  <a:pt x="1024" y="1938"/>
                </a:lnTo>
                <a:lnTo>
                  <a:pt x="1652" y="1311"/>
                </a:lnTo>
                <a:lnTo>
                  <a:pt x="2279" y="1938"/>
                </a:lnTo>
                <a:lnTo>
                  <a:pt x="2396" y="1938"/>
                </a:lnTo>
                <a:lnTo>
                  <a:pt x="2433" y="1901"/>
                </a:lnTo>
                <a:lnTo>
                  <a:pt x="2433" y="1784"/>
                </a:lnTo>
                <a:lnTo>
                  <a:pt x="1806" y="1157"/>
                </a:lnTo>
                <a:lnTo>
                  <a:pt x="2433" y="529"/>
                </a:lnTo>
                <a:lnTo>
                  <a:pt x="2433" y="412"/>
                </a:lnTo>
                <a:lnTo>
                  <a:pt x="2396" y="373"/>
                </a:lnTo>
                <a:lnTo>
                  <a:pt x="2279" y="373"/>
                </a:lnTo>
                <a:lnTo>
                  <a:pt x="1652" y="1001"/>
                </a:lnTo>
                <a:lnTo>
                  <a:pt x="1024" y="373"/>
                </a:lnTo>
                <a:lnTo>
                  <a:pt x="909" y="373"/>
                </a:lnTo>
                <a:close/>
                <a:moveTo>
                  <a:pt x="620" y="123"/>
                </a:moveTo>
                <a:lnTo>
                  <a:pt x="2683" y="123"/>
                </a:lnTo>
                <a:lnTo>
                  <a:pt x="2683" y="2189"/>
                </a:lnTo>
                <a:lnTo>
                  <a:pt x="620" y="2189"/>
                </a:lnTo>
                <a:lnTo>
                  <a:pt x="620" y="123"/>
                </a:lnTo>
                <a:close/>
                <a:moveTo>
                  <a:pt x="4080" y="0"/>
                </a:moveTo>
                <a:lnTo>
                  <a:pt x="4388" y="0"/>
                </a:lnTo>
                <a:lnTo>
                  <a:pt x="4416" y="3"/>
                </a:lnTo>
                <a:lnTo>
                  <a:pt x="4444" y="13"/>
                </a:lnTo>
                <a:lnTo>
                  <a:pt x="4467" y="28"/>
                </a:lnTo>
                <a:lnTo>
                  <a:pt x="4488" y="48"/>
                </a:lnTo>
                <a:lnTo>
                  <a:pt x="4502" y="72"/>
                </a:lnTo>
                <a:lnTo>
                  <a:pt x="4511" y="99"/>
                </a:lnTo>
                <a:lnTo>
                  <a:pt x="4515" y="128"/>
                </a:lnTo>
                <a:lnTo>
                  <a:pt x="4511" y="157"/>
                </a:lnTo>
                <a:lnTo>
                  <a:pt x="4502" y="185"/>
                </a:lnTo>
                <a:lnTo>
                  <a:pt x="4488" y="208"/>
                </a:lnTo>
                <a:lnTo>
                  <a:pt x="4467" y="227"/>
                </a:lnTo>
                <a:lnTo>
                  <a:pt x="4444" y="242"/>
                </a:lnTo>
                <a:lnTo>
                  <a:pt x="4416" y="252"/>
                </a:lnTo>
                <a:lnTo>
                  <a:pt x="4388" y="256"/>
                </a:lnTo>
                <a:lnTo>
                  <a:pt x="4163" y="256"/>
                </a:lnTo>
                <a:lnTo>
                  <a:pt x="3174" y="2533"/>
                </a:lnTo>
                <a:lnTo>
                  <a:pt x="3159" y="2559"/>
                </a:lnTo>
                <a:lnTo>
                  <a:pt x="3139" y="2581"/>
                </a:lnTo>
                <a:lnTo>
                  <a:pt x="3115" y="2597"/>
                </a:lnTo>
                <a:lnTo>
                  <a:pt x="3087" y="2608"/>
                </a:lnTo>
                <a:lnTo>
                  <a:pt x="3057" y="2610"/>
                </a:lnTo>
                <a:lnTo>
                  <a:pt x="128" y="2610"/>
                </a:lnTo>
                <a:lnTo>
                  <a:pt x="99" y="2608"/>
                </a:lnTo>
                <a:lnTo>
                  <a:pt x="71" y="2598"/>
                </a:lnTo>
                <a:lnTo>
                  <a:pt x="48" y="2583"/>
                </a:lnTo>
                <a:lnTo>
                  <a:pt x="27" y="2562"/>
                </a:lnTo>
                <a:lnTo>
                  <a:pt x="12" y="2539"/>
                </a:lnTo>
                <a:lnTo>
                  <a:pt x="3" y="2513"/>
                </a:lnTo>
                <a:lnTo>
                  <a:pt x="0" y="2482"/>
                </a:lnTo>
                <a:lnTo>
                  <a:pt x="3" y="2453"/>
                </a:lnTo>
                <a:lnTo>
                  <a:pt x="12" y="2426"/>
                </a:lnTo>
                <a:lnTo>
                  <a:pt x="27" y="2402"/>
                </a:lnTo>
                <a:lnTo>
                  <a:pt x="48" y="2383"/>
                </a:lnTo>
                <a:lnTo>
                  <a:pt x="71" y="2368"/>
                </a:lnTo>
                <a:lnTo>
                  <a:pt x="99" y="2358"/>
                </a:lnTo>
                <a:lnTo>
                  <a:pt x="128" y="2354"/>
                </a:lnTo>
                <a:lnTo>
                  <a:pt x="2973" y="2354"/>
                </a:lnTo>
                <a:lnTo>
                  <a:pt x="3961" y="77"/>
                </a:lnTo>
                <a:lnTo>
                  <a:pt x="3977" y="51"/>
                </a:lnTo>
                <a:lnTo>
                  <a:pt x="3997" y="29"/>
                </a:lnTo>
                <a:lnTo>
                  <a:pt x="4022" y="14"/>
                </a:lnTo>
                <a:lnTo>
                  <a:pt x="4049" y="3"/>
                </a:lnTo>
                <a:lnTo>
                  <a:pt x="4080" y="0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" name="Google Shape;409;p31"/>
          <p:cNvSpPr/>
          <p:nvPr/>
        </p:nvSpPr>
        <p:spPr>
          <a:xfrm>
            <a:off x="5832373" y="724495"/>
            <a:ext cx="1860041" cy="13906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600" b="1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rPr>
              <a:t>03</a:t>
            </a:r>
            <a:endParaRPr sz="9600" b="1">
              <a:solidFill>
                <a:srgbClr val="3F3F3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" name="Freeform 47"/>
          <p:cNvSpPr>
            <a:spLocks/>
          </p:cNvSpPr>
          <p:nvPr/>
        </p:nvSpPr>
        <p:spPr bwMode="auto">
          <a:xfrm>
            <a:off x="1385523" y="2493843"/>
            <a:ext cx="2615" cy="5473"/>
          </a:xfrm>
          <a:custGeom>
            <a:avLst/>
            <a:gdLst>
              <a:gd name="T0" fmla="*/ 0 w 5"/>
              <a:gd name="T1" fmla="*/ 0 h 7"/>
              <a:gd name="T2" fmla="*/ 5 w 5"/>
              <a:gd name="T3" fmla="*/ 7 h 7"/>
              <a:gd name="T4" fmla="*/ 0 w 5"/>
              <a:gd name="T5" fmla="*/ 0 h 7"/>
              <a:gd name="T6" fmla="*/ 0 w 5"/>
              <a:gd name="T7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" h="7">
                <a:moveTo>
                  <a:pt x="0" y="0"/>
                </a:moveTo>
                <a:lnTo>
                  <a:pt x="5" y="7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EAF0F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Freeform 48"/>
          <p:cNvSpPr>
            <a:spLocks/>
          </p:cNvSpPr>
          <p:nvPr/>
        </p:nvSpPr>
        <p:spPr bwMode="auto">
          <a:xfrm>
            <a:off x="1470502" y="2742866"/>
            <a:ext cx="1128273" cy="1183544"/>
          </a:xfrm>
          <a:custGeom>
            <a:avLst/>
            <a:gdLst>
              <a:gd name="T0" fmla="*/ 489 w 1726"/>
              <a:gd name="T1" fmla="*/ 0 h 1728"/>
              <a:gd name="T2" fmla="*/ 489 w 1726"/>
              <a:gd name="T3" fmla="*/ 3 h 1728"/>
              <a:gd name="T4" fmla="*/ 494 w 1726"/>
              <a:gd name="T5" fmla="*/ 122 h 1728"/>
              <a:gd name="T6" fmla="*/ 510 w 1726"/>
              <a:gd name="T7" fmla="*/ 238 h 1728"/>
              <a:gd name="T8" fmla="*/ 538 w 1726"/>
              <a:gd name="T9" fmla="*/ 351 h 1728"/>
              <a:gd name="T10" fmla="*/ 576 w 1726"/>
              <a:gd name="T11" fmla="*/ 458 h 1728"/>
              <a:gd name="T12" fmla="*/ 622 w 1726"/>
              <a:gd name="T13" fmla="*/ 563 h 1728"/>
              <a:gd name="T14" fmla="*/ 677 w 1726"/>
              <a:gd name="T15" fmla="*/ 660 h 1728"/>
              <a:gd name="T16" fmla="*/ 741 w 1726"/>
              <a:gd name="T17" fmla="*/ 753 h 1728"/>
              <a:gd name="T18" fmla="*/ 812 w 1726"/>
              <a:gd name="T19" fmla="*/ 838 h 1728"/>
              <a:gd name="T20" fmla="*/ 892 w 1726"/>
              <a:gd name="T21" fmla="*/ 916 h 1728"/>
              <a:gd name="T22" fmla="*/ 977 w 1726"/>
              <a:gd name="T23" fmla="*/ 989 h 1728"/>
              <a:gd name="T24" fmla="*/ 1069 w 1726"/>
              <a:gd name="T25" fmla="*/ 1053 h 1728"/>
              <a:gd name="T26" fmla="*/ 1167 w 1726"/>
              <a:gd name="T27" fmla="*/ 1108 h 1728"/>
              <a:gd name="T28" fmla="*/ 1270 w 1726"/>
              <a:gd name="T29" fmla="*/ 1154 h 1728"/>
              <a:gd name="T30" fmla="*/ 1378 w 1726"/>
              <a:gd name="T31" fmla="*/ 1192 h 1728"/>
              <a:gd name="T32" fmla="*/ 1490 w 1726"/>
              <a:gd name="T33" fmla="*/ 1218 h 1728"/>
              <a:gd name="T34" fmla="*/ 1606 w 1726"/>
              <a:gd name="T35" fmla="*/ 1236 h 1728"/>
              <a:gd name="T36" fmla="*/ 1726 w 1726"/>
              <a:gd name="T37" fmla="*/ 1241 h 1728"/>
              <a:gd name="T38" fmla="*/ 1726 w 1726"/>
              <a:gd name="T39" fmla="*/ 1241 h 1728"/>
              <a:gd name="T40" fmla="*/ 1726 w 1726"/>
              <a:gd name="T41" fmla="*/ 1728 h 1728"/>
              <a:gd name="T42" fmla="*/ 1705 w 1726"/>
              <a:gd name="T43" fmla="*/ 1728 h 1728"/>
              <a:gd name="T44" fmla="*/ 1565 w 1726"/>
              <a:gd name="T45" fmla="*/ 1721 h 1728"/>
              <a:gd name="T46" fmla="*/ 1428 w 1726"/>
              <a:gd name="T47" fmla="*/ 1703 h 1728"/>
              <a:gd name="T48" fmla="*/ 1295 w 1726"/>
              <a:gd name="T49" fmla="*/ 1675 h 1728"/>
              <a:gd name="T50" fmla="*/ 1167 w 1726"/>
              <a:gd name="T51" fmla="*/ 1636 h 1728"/>
              <a:gd name="T52" fmla="*/ 1041 w 1726"/>
              <a:gd name="T53" fmla="*/ 1588 h 1728"/>
              <a:gd name="T54" fmla="*/ 922 w 1726"/>
              <a:gd name="T55" fmla="*/ 1531 h 1728"/>
              <a:gd name="T56" fmla="*/ 808 w 1726"/>
              <a:gd name="T57" fmla="*/ 1464 h 1728"/>
              <a:gd name="T58" fmla="*/ 698 w 1726"/>
              <a:gd name="T59" fmla="*/ 1391 h 1728"/>
              <a:gd name="T60" fmla="*/ 597 w 1726"/>
              <a:gd name="T61" fmla="*/ 1307 h 1728"/>
              <a:gd name="T62" fmla="*/ 501 w 1726"/>
              <a:gd name="T63" fmla="*/ 1218 h 1728"/>
              <a:gd name="T64" fmla="*/ 412 w 1726"/>
              <a:gd name="T65" fmla="*/ 1121 h 1728"/>
              <a:gd name="T66" fmla="*/ 331 w 1726"/>
              <a:gd name="T67" fmla="*/ 1018 h 1728"/>
              <a:gd name="T68" fmla="*/ 258 w 1726"/>
              <a:gd name="T69" fmla="*/ 909 h 1728"/>
              <a:gd name="T70" fmla="*/ 192 w 1726"/>
              <a:gd name="T71" fmla="*/ 794 h 1728"/>
              <a:gd name="T72" fmla="*/ 135 w 1726"/>
              <a:gd name="T73" fmla="*/ 673 h 1728"/>
              <a:gd name="T74" fmla="*/ 89 w 1726"/>
              <a:gd name="T75" fmla="*/ 549 h 1728"/>
              <a:gd name="T76" fmla="*/ 52 w 1726"/>
              <a:gd name="T77" fmla="*/ 419 h 1728"/>
              <a:gd name="T78" fmla="*/ 23 w 1726"/>
              <a:gd name="T79" fmla="*/ 286 h 1728"/>
              <a:gd name="T80" fmla="*/ 8 w 1726"/>
              <a:gd name="T81" fmla="*/ 149 h 1728"/>
              <a:gd name="T82" fmla="*/ 0 w 1726"/>
              <a:gd name="T83" fmla="*/ 8 h 1728"/>
              <a:gd name="T84" fmla="*/ 2 w 1726"/>
              <a:gd name="T85" fmla="*/ 8 h 1728"/>
              <a:gd name="T86" fmla="*/ 2 w 1726"/>
              <a:gd name="T87" fmla="*/ 3 h 1728"/>
              <a:gd name="T88" fmla="*/ 489 w 1726"/>
              <a:gd name="T89" fmla="*/ 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726" h="1728">
                <a:moveTo>
                  <a:pt x="489" y="0"/>
                </a:moveTo>
                <a:lnTo>
                  <a:pt x="489" y="3"/>
                </a:lnTo>
                <a:lnTo>
                  <a:pt x="494" y="122"/>
                </a:lnTo>
                <a:lnTo>
                  <a:pt x="510" y="238"/>
                </a:lnTo>
                <a:lnTo>
                  <a:pt x="538" y="351"/>
                </a:lnTo>
                <a:lnTo>
                  <a:pt x="576" y="458"/>
                </a:lnTo>
                <a:lnTo>
                  <a:pt x="622" y="563"/>
                </a:lnTo>
                <a:lnTo>
                  <a:pt x="677" y="660"/>
                </a:lnTo>
                <a:lnTo>
                  <a:pt x="741" y="753"/>
                </a:lnTo>
                <a:lnTo>
                  <a:pt x="812" y="838"/>
                </a:lnTo>
                <a:lnTo>
                  <a:pt x="892" y="916"/>
                </a:lnTo>
                <a:lnTo>
                  <a:pt x="977" y="989"/>
                </a:lnTo>
                <a:lnTo>
                  <a:pt x="1069" y="1053"/>
                </a:lnTo>
                <a:lnTo>
                  <a:pt x="1167" y="1108"/>
                </a:lnTo>
                <a:lnTo>
                  <a:pt x="1270" y="1154"/>
                </a:lnTo>
                <a:lnTo>
                  <a:pt x="1378" y="1192"/>
                </a:lnTo>
                <a:lnTo>
                  <a:pt x="1490" y="1218"/>
                </a:lnTo>
                <a:lnTo>
                  <a:pt x="1606" y="1236"/>
                </a:lnTo>
                <a:lnTo>
                  <a:pt x="1726" y="1241"/>
                </a:lnTo>
                <a:lnTo>
                  <a:pt x="1726" y="1241"/>
                </a:lnTo>
                <a:lnTo>
                  <a:pt x="1726" y="1728"/>
                </a:lnTo>
                <a:lnTo>
                  <a:pt x="1705" y="1728"/>
                </a:lnTo>
                <a:lnTo>
                  <a:pt x="1565" y="1721"/>
                </a:lnTo>
                <a:lnTo>
                  <a:pt x="1428" y="1703"/>
                </a:lnTo>
                <a:lnTo>
                  <a:pt x="1295" y="1675"/>
                </a:lnTo>
                <a:lnTo>
                  <a:pt x="1167" y="1636"/>
                </a:lnTo>
                <a:lnTo>
                  <a:pt x="1041" y="1588"/>
                </a:lnTo>
                <a:lnTo>
                  <a:pt x="922" y="1531"/>
                </a:lnTo>
                <a:lnTo>
                  <a:pt x="808" y="1464"/>
                </a:lnTo>
                <a:lnTo>
                  <a:pt x="698" y="1391"/>
                </a:lnTo>
                <a:lnTo>
                  <a:pt x="597" y="1307"/>
                </a:lnTo>
                <a:lnTo>
                  <a:pt x="501" y="1218"/>
                </a:lnTo>
                <a:lnTo>
                  <a:pt x="412" y="1121"/>
                </a:lnTo>
                <a:lnTo>
                  <a:pt x="331" y="1018"/>
                </a:lnTo>
                <a:lnTo>
                  <a:pt x="258" y="909"/>
                </a:lnTo>
                <a:lnTo>
                  <a:pt x="192" y="794"/>
                </a:lnTo>
                <a:lnTo>
                  <a:pt x="135" y="673"/>
                </a:lnTo>
                <a:lnTo>
                  <a:pt x="89" y="549"/>
                </a:lnTo>
                <a:lnTo>
                  <a:pt x="52" y="419"/>
                </a:lnTo>
                <a:lnTo>
                  <a:pt x="23" y="286"/>
                </a:lnTo>
                <a:lnTo>
                  <a:pt x="8" y="149"/>
                </a:lnTo>
                <a:lnTo>
                  <a:pt x="0" y="8"/>
                </a:lnTo>
                <a:lnTo>
                  <a:pt x="2" y="8"/>
                </a:lnTo>
                <a:lnTo>
                  <a:pt x="2" y="3"/>
                </a:lnTo>
                <a:lnTo>
                  <a:pt x="489" y="0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Freeform 49"/>
          <p:cNvSpPr>
            <a:spLocks/>
          </p:cNvSpPr>
          <p:nvPr/>
        </p:nvSpPr>
        <p:spPr bwMode="auto">
          <a:xfrm>
            <a:off x="2598775" y="2742866"/>
            <a:ext cx="1126965" cy="1183544"/>
          </a:xfrm>
          <a:custGeom>
            <a:avLst/>
            <a:gdLst>
              <a:gd name="T0" fmla="*/ 1236 w 1725"/>
              <a:gd name="T1" fmla="*/ 0 h 1728"/>
              <a:gd name="T2" fmla="*/ 1725 w 1725"/>
              <a:gd name="T3" fmla="*/ 3 h 1728"/>
              <a:gd name="T4" fmla="*/ 1725 w 1725"/>
              <a:gd name="T5" fmla="*/ 3 h 1728"/>
              <a:gd name="T6" fmla="*/ 1725 w 1725"/>
              <a:gd name="T7" fmla="*/ 5 h 1728"/>
              <a:gd name="T8" fmla="*/ 1719 w 1725"/>
              <a:gd name="T9" fmla="*/ 138 h 1728"/>
              <a:gd name="T10" fmla="*/ 1703 w 1725"/>
              <a:gd name="T11" fmla="*/ 270 h 1728"/>
              <a:gd name="T12" fmla="*/ 1679 w 1725"/>
              <a:gd name="T13" fmla="*/ 399 h 1728"/>
              <a:gd name="T14" fmla="*/ 1645 w 1725"/>
              <a:gd name="T15" fmla="*/ 524 h 1728"/>
              <a:gd name="T16" fmla="*/ 1602 w 1725"/>
              <a:gd name="T17" fmla="*/ 644 h 1728"/>
              <a:gd name="T18" fmla="*/ 1549 w 1725"/>
              <a:gd name="T19" fmla="*/ 762 h 1728"/>
              <a:gd name="T20" fmla="*/ 1490 w 1725"/>
              <a:gd name="T21" fmla="*/ 874 h 1728"/>
              <a:gd name="T22" fmla="*/ 1421 w 1725"/>
              <a:gd name="T23" fmla="*/ 980 h 1728"/>
              <a:gd name="T24" fmla="*/ 1346 w 1725"/>
              <a:gd name="T25" fmla="*/ 1082 h 1728"/>
              <a:gd name="T26" fmla="*/ 1265 w 1725"/>
              <a:gd name="T27" fmla="*/ 1177 h 1728"/>
              <a:gd name="T28" fmla="*/ 1176 w 1725"/>
              <a:gd name="T29" fmla="*/ 1266 h 1728"/>
              <a:gd name="T30" fmla="*/ 1080 w 1725"/>
              <a:gd name="T31" fmla="*/ 1348 h 1728"/>
              <a:gd name="T32" fmla="*/ 979 w 1725"/>
              <a:gd name="T33" fmla="*/ 1424 h 1728"/>
              <a:gd name="T34" fmla="*/ 872 w 1725"/>
              <a:gd name="T35" fmla="*/ 1492 h 1728"/>
              <a:gd name="T36" fmla="*/ 760 w 1725"/>
              <a:gd name="T37" fmla="*/ 1552 h 1728"/>
              <a:gd name="T38" fmla="*/ 645 w 1725"/>
              <a:gd name="T39" fmla="*/ 1604 h 1728"/>
              <a:gd name="T40" fmla="*/ 524 w 1725"/>
              <a:gd name="T41" fmla="*/ 1648 h 1728"/>
              <a:gd name="T42" fmla="*/ 398 w 1725"/>
              <a:gd name="T43" fmla="*/ 1682 h 1728"/>
              <a:gd name="T44" fmla="*/ 270 w 1725"/>
              <a:gd name="T45" fmla="*/ 1707 h 1728"/>
              <a:gd name="T46" fmla="*/ 139 w 1725"/>
              <a:gd name="T47" fmla="*/ 1723 h 1728"/>
              <a:gd name="T48" fmla="*/ 4 w 1725"/>
              <a:gd name="T49" fmla="*/ 1728 h 1728"/>
              <a:gd name="T50" fmla="*/ 4 w 1725"/>
              <a:gd name="T51" fmla="*/ 1728 h 1728"/>
              <a:gd name="T52" fmla="*/ 0 w 1725"/>
              <a:gd name="T53" fmla="*/ 1728 h 1728"/>
              <a:gd name="T54" fmla="*/ 0 w 1725"/>
              <a:gd name="T55" fmla="*/ 1241 h 1728"/>
              <a:gd name="T56" fmla="*/ 119 w 1725"/>
              <a:gd name="T57" fmla="*/ 1236 h 1728"/>
              <a:gd name="T58" fmla="*/ 237 w 1725"/>
              <a:gd name="T59" fmla="*/ 1218 h 1728"/>
              <a:gd name="T60" fmla="*/ 348 w 1725"/>
              <a:gd name="T61" fmla="*/ 1192 h 1728"/>
              <a:gd name="T62" fmla="*/ 455 w 1725"/>
              <a:gd name="T63" fmla="*/ 1154 h 1728"/>
              <a:gd name="T64" fmla="*/ 560 w 1725"/>
              <a:gd name="T65" fmla="*/ 1108 h 1728"/>
              <a:gd name="T66" fmla="*/ 657 w 1725"/>
              <a:gd name="T67" fmla="*/ 1051 h 1728"/>
              <a:gd name="T68" fmla="*/ 748 w 1725"/>
              <a:gd name="T69" fmla="*/ 989 h 1728"/>
              <a:gd name="T70" fmla="*/ 835 w 1725"/>
              <a:gd name="T71" fmla="*/ 916 h 1728"/>
              <a:gd name="T72" fmla="*/ 913 w 1725"/>
              <a:gd name="T73" fmla="*/ 838 h 1728"/>
              <a:gd name="T74" fmla="*/ 986 w 1725"/>
              <a:gd name="T75" fmla="*/ 751 h 1728"/>
              <a:gd name="T76" fmla="*/ 1048 w 1725"/>
              <a:gd name="T77" fmla="*/ 660 h 1728"/>
              <a:gd name="T78" fmla="*/ 1105 w 1725"/>
              <a:gd name="T79" fmla="*/ 561 h 1728"/>
              <a:gd name="T80" fmla="*/ 1151 w 1725"/>
              <a:gd name="T81" fmla="*/ 458 h 1728"/>
              <a:gd name="T82" fmla="*/ 1188 w 1725"/>
              <a:gd name="T83" fmla="*/ 351 h 1728"/>
              <a:gd name="T84" fmla="*/ 1215 w 1725"/>
              <a:gd name="T85" fmla="*/ 238 h 1728"/>
              <a:gd name="T86" fmla="*/ 1231 w 1725"/>
              <a:gd name="T87" fmla="*/ 122 h 1728"/>
              <a:gd name="T88" fmla="*/ 1236 w 1725"/>
              <a:gd name="T89" fmla="*/ 3 h 1728"/>
              <a:gd name="T90" fmla="*/ 1236 w 1725"/>
              <a:gd name="T91" fmla="*/ 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725" h="1728">
                <a:moveTo>
                  <a:pt x="1236" y="0"/>
                </a:moveTo>
                <a:lnTo>
                  <a:pt x="1725" y="3"/>
                </a:lnTo>
                <a:lnTo>
                  <a:pt x="1725" y="3"/>
                </a:lnTo>
                <a:lnTo>
                  <a:pt x="1725" y="5"/>
                </a:lnTo>
                <a:lnTo>
                  <a:pt x="1719" y="138"/>
                </a:lnTo>
                <a:lnTo>
                  <a:pt x="1703" y="270"/>
                </a:lnTo>
                <a:lnTo>
                  <a:pt x="1679" y="399"/>
                </a:lnTo>
                <a:lnTo>
                  <a:pt x="1645" y="524"/>
                </a:lnTo>
                <a:lnTo>
                  <a:pt x="1602" y="644"/>
                </a:lnTo>
                <a:lnTo>
                  <a:pt x="1549" y="762"/>
                </a:lnTo>
                <a:lnTo>
                  <a:pt x="1490" y="874"/>
                </a:lnTo>
                <a:lnTo>
                  <a:pt x="1421" y="980"/>
                </a:lnTo>
                <a:lnTo>
                  <a:pt x="1346" y="1082"/>
                </a:lnTo>
                <a:lnTo>
                  <a:pt x="1265" y="1177"/>
                </a:lnTo>
                <a:lnTo>
                  <a:pt x="1176" y="1266"/>
                </a:lnTo>
                <a:lnTo>
                  <a:pt x="1080" y="1348"/>
                </a:lnTo>
                <a:lnTo>
                  <a:pt x="979" y="1424"/>
                </a:lnTo>
                <a:lnTo>
                  <a:pt x="872" y="1492"/>
                </a:lnTo>
                <a:lnTo>
                  <a:pt x="760" y="1552"/>
                </a:lnTo>
                <a:lnTo>
                  <a:pt x="645" y="1604"/>
                </a:lnTo>
                <a:lnTo>
                  <a:pt x="524" y="1648"/>
                </a:lnTo>
                <a:lnTo>
                  <a:pt x="398" y="1682"/>
                </a:lnTo>
                <a:lnTo>
                  <a:pt x="270" y="1707"/>
                </a:lnTo>
                <a:lnTo>
                  <a:pt x="139" y="1723"/>
                </a:lnTo>
                <a:lnTo>
                  <a:pt x="4" y="1728"/>
                </a:lnTo>
                <a:lnTo>
                  <a:pt x="4" y="1728"/>
                </a:lnTo>
                <a:lnTo>
                  <a:pt x="0" y="1728"/>
                </a:lnTo>
                <a:lnTo>
                  <a:pt x="0" y="1241"/>
                </a:lnTo>
                <a:lnTo>
                  <a:pt x="119" y="1236"/>
                </a:lnTo>
                <a:lnTo>
                  <a:pt x="237" y="1218"/>
                </a:lnTo>
                <a:lnTo>
                  <a:pt x="348" y="1192"/>
                </a:lnTo>
                <a:lnTo>
                  <a:pt x="455" y="1154"/>
                </a:lnTo>
                <a:lnTo>
                  <a:pt x="560" y="1108"/>
                </a:lnTo>
                <a:lnTo>
                  <a:pt x="657" y="1051"/>
                </a:lnTo>
                <a:lnTo>
                  <a:pt x="748" y="989"/>
                </a:lnTo>
                <a:lnTo>
                  <a:pt x="835" y="916"/>
                </a:lnTo>
                <a:lnTo>
                  <a:pt x="913" y="838"/>
                </a:lnTo>
                <a:lnTo>
                  <a:pt x="986" y="751"/>
                </a:lnTo>
                <a:lnTo>
                  <a:pt x="1048" y="660"/>
                </a:lnTo>
                <a:lnTo>
                  <a:pt x="1105" y="561"/>
                </a:lnTo>
                <a:lnTo>
                  <a:pt x="1151" y="458"/>
                </a:lnTo>
                <a:lnTo>
                  <a:pt x="1188" y="351"/>
                </a:lnTo>
                <a:lnTo>
                  <a:pt x="1215" y="238"/>
                </a:lnTo>
                <a:lnTo>
                  <a:pt x="1231" y="122"/>
                </a:lnTo>
                <a:lnTo>
                  <a:pt x="1236" y="3"/>
                </a:lnTo>
                <a:lnTo>
                  <a:pt x="1236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Freeform 50"/>
          <p:cNvSpPr>
            <a:spLocks/>
          </p:cNvSpPr>
          <p:nvPr/>
        </p:nvSpPr>
        <p:spPr bwMode="auto">
          <a:xfrm>
            <a:off x="1470502" y="1566164"/>
            <a:ext cx="1128273" cy="1179439"/>
          </a:xfrm>
          <a:custGeom>
            <a:avLst/>
            <a:gdLst>
              <a:gd name="T0" fmla="*/ 1726 w 1726"/>
              <a:gd name="T1" fmla="*/ 0 h 1725"/>
              <a:gd name="T2" fmla="*/ 1726 w 1726"/>
              <a:gd name="T3" fmla="*/ 487 h 1725"/>
              <a:gd name="T4" fmla="*/ 1726 w 1726"/>
              <a:gd name="T5" fmla="*/ 487 h 1725"/>
              <a:gd name="T6" fmla="*/ 1607 w 1726"/>
              <a:gd name="T7" fmla="*/ 492 h 1725"/>
              <a:gd name="T8" fmla="*/ 1490 w 1726"/>
              <a:gd name="T9" fmla="*/ 510 h 1725"/>
              <a:gd name="T10" fmla="*/ 1378 w 1726"/>
              <a:gd name="T11" fmla="*/ 537 h 1725"/>
              <a:gd name="T12" fmla="*/ 1272 w 1726"/>
              <a:gd name="T13" fmla="*/ 574 h 1725"/>
              <a:gd name="T14" fmla="*/ 1169 w 1726"/>
              <a:gd name="T15" fmla="*/ 620 h 1725"/>
              <a:gd name="T16" fmla="*/ 1069 w 1726"/>
              <a:gd name="T17" fmla="*/ 675 h 1725"/>
              <a:gd name="T18" fmla="*/ 979 w 1726"/>
              <a:gd name="T19" fmla="*/ 739 h 1725"/>
              <a:gd name="T20" fmla="*/ 892 w 1726"/>
              <a:gd name="T21" fmla="*/ 810 h 1725"/>
              <a:gd name="T22" fmla="*/ 814 w 1726"/>
              <a:gd name="T23" fmla="*/ 888 h 1725"/>
              <a:gd name="T24" fmla="*/ 743 w 1726"/>
              <a:gd name="T25" fmla="*/ 975 h 1725"/>
              <a:gd name="T26" fmla="*/ 679 w 1726"/>
              <a:gd name="T27" fmla="*/ 1066 h 1725"/>
              <a:gd name="T28" fmla="*/ 622 w 1726"/>
              <a:gd name="T29" fmla="*/ 1164 h 1725"/>
              <a:gd name="T30" fmla="*/ 576 w 1726"/>
              <a:gd name="T31" fmla="*/ 1267 h 1725"/>
              <a:gd name="T32" fmla="*/ 538 w 1726"/>
              <a:gd name="T33" fmla="*/ 1375 h 1725"/>
              <a:gd name="T34" fmla="*/ 512 w 1726"/>
              <a:gd name="T35" fmla="*/ 1487 h 1725"/>
              <a:gd name="T36" fmla="*/ 494 w 1726"/>
              <a:gd name="T37" fmla="*/ 1603 h 1725"/>
              <a:gd name="T38" fmla="*/ 489 w 1726"/>
              <a:gd name="T39" fmla="*/ 1722 h 1725"/>
              <a:gd name="T40" fmla="*/ 2 w 1726"/>
              <a:gd name="T41" fmla="*/ 1725 h 1725"/>
              <a:gd name="T42" fmla="*/ 0 w 1726"/>
              <a:gd name="T43" fmla="*/ 1704 h 1725"/>
              <a:gd name="T44" fmla="*/ 0 w 1726"/>
              <a:gd name="T45" fmla="*/ 1704 h 1725"/>
              <a:gd name="T46" fmla="*/ 9 w 1726"/>
              <a:gd name="T47" fmla="*/ 1563 h 1725"/>
              <a:gd name="T48" fmla="*/ 27 w 1726"/>
              <a:gd name="T49" fmla="*/ 1427 h 1725"/>
              <a:gd name="T50" fmla="*/ 55 w 1726"/>
              <a:gd name="T51" fmla="*/ 1293 h 1725"/>
              <a:gd name="T52" fmla="*/ 95 w 1726"/>
              <a:gd name="T53" fmla="*/ 1164 h 1725"/>
              <a:gd name="T54" fmla="*/ 142 w 1726"/>
              <a:gd name="T55" fmla="*/ 1039 h 1725"/>
              <a:gd name="T56" fmla="*/ 199 w 1726"/>
              <a:gd name="T57" fmla="*/ 920 h 1725"/>
              <a:gd name="T58" fmla="*/ 267 w 1726"/>
              <a:gd name="T59" fmla="*/ 805 h 1725"/>
              <a:gd name="T60" fmla="*/ 341 w 1726"/>
              <a:gd name="T61" fmla="*/ 696 h 1725"/>
              <a:gd name="T62" fmla="*/ 423 w 1726"/>
              <a:gd name="T63" fmla="*/ 593 h 1725"/>
              <a:gd name="T64" fmla="*/ 514 w 1726"/>
              <a:gd name="T65" fmla="*/ 497 h 1725"/>
              <a:gd name="T66" fmla="*/ 609 w 1726"/>
              <a:gd name="T67" fmla="*/ 409 h 1725"/>
              <a:gd name="T68" fmla="*/ 714 w 1726"/>
              <a:gd name="T69" fmla="*/ 327 h 1725"/>
              <a:gd name="T70" fmla="*/ 823 w 1726"/>
              <a:gd name="T71" fmla="*/ 254 h 1725"/>
              <a:gd name="T72" fmla="*/ 938 w 1726"/>
              <a:gd name="T73" fmla="*/ 190 h 1725"/>
              <a:gd name="T74" fmla="*/ 1059 w 1726"/>
              <a:gd name="T75" fmla="*/ 133 h 1725"/>
              <a:gd name="T76" fmla="*/ 1185 w 1726"/>
              <a:gd name="T77" fmla="*/ 87 h 1725"/>
              <a:gd name="T78" fmla="*/ 1314 w 1726"/>
              <a:gd name="T79" fmla="*/ 50 h 1725"/>
              <a:gd name="T80" fmla="*/ 1448 w 1726"/>
              <a:gd name="T81" fmla="*/ 21 h 1725"/>
              <a:gd name="T82" fmla="*/ 1586 w 1726"/>
              <a:gd name="T83" fmla="*/ 5 h 1725"/>
              <a:gd name="T84" fmla="*/ 1726 w 1726"/>
              <a:gd name="T85" fmla="*/ 0 h 17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726" h="1725">
                <a:moveTo>
                  <a:pt x="1726" y="0"/>
                </a:moveTo>
                <a:lnTo>
                  <a:pt x="1726" y="487"/>
                </a:lnTo>
                <a:lnTo>
                  <a:pt x="1726" y="487"/>
                </a:lnTo>
                <a:lnTo>
                  <a:pt x="1607" y="492"/>
                </a:lnTo>
                <a:lnTo>
                  <a:pt x="1490" y="510"/>
                </a:lnTo>
                <a:lnTo>
                  <a:pt x="1378" y="537"/>
                </a:lnTo>
                <a:lnTo>
                  <a:pt x="1272" y="574"/>
                </a:lnTo>
                <a:lnTo>
                  <a:pt x="1169" y="620"/>
                </a:lnTo>
                <a:lnTo>
                  <a:pt x="1069" y="675"/>
                </a:lnTo>
                <a:lnTo>
                  <a:pt x="979" y="739"/>
                </a:lnTo>
                <a:lnTo>
                  <a:pt x="892" y="810"/>
                </a:lnTo>
                <a:lnTo>
                  <a:pt x="814" y="888"/>
                </a:lnTo>
                <a:lnTo>
                  <a:pt x="743" y="975"/>
                </a:lnTo>
                <a:lnTo>
                  <a:pt x="679" y="1066"/>
                </a:lnTo>
                <a:lnTo>
                  <a:pt x="622" y="1164"/>
                </a:lnTo>
                <a:lnTo>
                  <a:pt x="576" y="1267"/>
                </a:lnTo>
                <a:lnTo>
                  <a:pt x="538" y="1375"/>
                </a:lnTo>
                <a:lnTo>
                  <a:pt x="512" y="1487"/>
                </a:lnTo>
                <a:lnTo>
                  <a:pt x="494" y="1603"/>
                </a:lnTo>
                <a:lnTo>
                  <a:pt x="489" y="1722"/>
                </a:lnTo>
                <a:lnTo>
                  <a:pt x="2" y="1725"/>
                </a:lnTo>
                <a:lnTo>
                  <a:pt x="0" y="1704"/>
                </a:lnTo>
                <a:lnTo>
                  <a:pt x="0" y="1704"/>
                </a:lnTo>
                <a:lnTo>
                  <a:pt x="9" y="1563"/>
                </a:lnTo>
                <a:lnTo>
                  <a:pt x="27" y="1427"/>
                </a:lnTo>
                <a:lnTo>
                  <a:pt x="55" y="1293"/>
                </a:lnTo>
                <a:lnTo>
                  <a:pt x="95" y="1164"/>
                </a:lnTo>
                <a:lnTo>
                  <a:pt x="142" y="1039"/>
                </a:lnTo>
                <a:lnTo>
                  <a:pt x="199" y="920"/>
                </a:lnTo>
                <a:lnTo>
                  <a:pt x="267" y="805"/>
                </a:lnTo>
                <a:lnTo>
                  <a:pt x="341" y="696"/>
                </a:lnTo>
                <a:lnTo>
                  <a:pt x="423" y="593"/>
                </a:lnTo>
                <a:lnTo>
                  <a:pt x="514" y="497"/>
                </a:lnTo>
                <a:lnTo>
                  <a:pt x="609" y="409"/>
                </a:lnTo>
                <a:lnTo>
                  <a:pt x="714" y="327"/>
                </a:lnTo>
                <a:lnTo>
                  <a:pt x="823" y="254"/>
                </a:lnTo>
                <a:lnTo>
                  <a:pt x="938" y="190"/>
                </a:lnTo>
                <a:lnTo>
                  <a:pt x="1059" y="133"/>
                </a:lnTo>
                <a:lnTo>
                  <a:pt x="1185" y="87"/>
                </a:lnTo>
                <a:lnTo>
                  <a:pt x="1314" y="50"/>
                </a:lnTo>
                <a:lnTo>
                  <a:pt x="1448" y="21"/>
                </a:lnTo>
                <a:lnTo>
                  <a:pt x="1586" y="5"/>
                </a:lnTo>
                <a:lnTo>
                  <a:pt x="1726" y="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Freeform 51"/>
          <p:cNvSpPr>
            <a:spLocks/>
          </p:cNvSpPr>
          <p:nvPr/>
        </p:nvSpPr>
        <p:spPr bwMode="auto">
          <a:xfrm>
            <a:off x="686072" y="2340598"/>
            <a:ext cx="1911395" cy="2408135"/>
          </a:xfrm>
          <a:custGeom>
            <a:avLst/>
            <a:gdLst>
              <a:gd name="T0" fmla="*/ 661 w 2925"/>
              <a:gd name="T1" fmla="*/ 2 h 3520"/>
              <a:gd name="T2" fmla="*/ 719 w 2925"/>
              <a:gd name="T3" fmla="*/ 11 h 3520"/>
              <a:gd name="T4" fmla="*/ 776 w 2925"/>
              <a:gd name="T5" fmla="*/ 27 h 3520"/>
              <a:gd name="T6" fmla="*/ 831 w 2925"/>
              <a:gd name="T7" fmla="*/ 45 h 3520"/>
              <a:gd name="T8" fmla="*/ 883 w 2925"/>
              <a:gd name="T9" fmla="*/ 70 h 3520"/>
              <a:gd name="T10" fmla="*/ 930 w 2925"/>
              <a:gd name="T11" fmla="*/ 98 h 3520"/>
              <a:gd name="T12" fmla="*/ 977 w 2925"/>
              <a:gd name="T13" fmla="*/ 132 h 3520"/>
              <a:gd name="T14" fmla="*/ 1019 w 2925"/>
              <a:gd name="T15" fmla="*/ 169 h 3520"/>
              <a:gd name="T16" fmla="*/ 1057 w 2925"/>
              <a:gd name="T17" fmla="*/ 210 h 3520"/>
              <a:gd name="T18" fmla="*/ 1087 w 2925"/>
              <a:gd name="T19" fmla="*/ 247 h 3520"/>
              <a:gd name="T20" fmla="*/ 1117 w 2925"/>
              <a:gd name="T21" fmla="*/ 294 h 3520"/>
              <a:gd name="T22" fmla="*/ 1144 w 2925"/>
              <a:gd name="T23" fmla="*/ 345 h 3520"/>
              <a:gd name="T24" fmla="*/ 1167 w 2925"/>
              <a:gd name="T25" fmla="*/ 398 h 3520"/>
              <a:gd name="T26" fmla="*/ 1183 w 2925"/>
              <a:gd name="T27" fmla="*/ 454 h 3520"/>
              <a:gd name="T28" fmla="*/ 1202 w 2925"/>
              <a:gd name="T29" fmla="*/ 592 h 3520"/>
              <a:gd name="T30" fmla="*/ 1223 w 2925"/>
              <a:gd name="T31" fmla="*/ 875 h 3520"/>
              <a:gd name="T32" fmla="*/ 1392 w 2925"/>
              <a:gd name="T33" fmla="*/ 1383 h 3520"/>
              <a:gd name="T34" fmla="*/ 1701 w 2925"/>
              <a:gd name="T35" fmla="*/ 1807 h 3520"/>
              <a:gd name="T36" fmla="*/ 2122 w 2925"/>
              <a:gd name="T37" fmla="*/ 2120 h 3520"/>
              <a:gd name="T38" fmla="*/ 2628 w 2925"/>
              <a:gd name="T39" fmla="*/ 2292 h 3520"/>
              <a:gd name="T40" fmla="*/ 2807 w 2925"/>
              <a:gd name="T41" fmla="*/ 2331 h 3520"/>
              <a:gd name="T42" fmla="*/ 2559 w 2925"/>
              <a:gd name="T43" fmla="*/ 2450 h 3520"/>
              <a:gd name="T44" fmla="*/ 2380 w 2925"/>
              <a:gd name="T45" fmla="*/ 2689 h 3520"/>
              <a:gd name="T46" fmla="*/ 2339 w 2925"/>
              <a:gd name="T47" fmla="*/ 2999 h 3520"/>
              <a:gd name="T48" fmla="*/ 2458 w 2925"/>
              <a:gd name="T49" fmla="*/ 3282 h 3520"/>
              <a:gd name="T50" fmla="*/ 2696 w 2925"/>
              <a:gd name="T51" fmla="*/ 3468 h 3520"/>
              <a:gd name="T52" fmla="*/ 2925 w 2925"/>
              <a:gd name="T53" fmla="*/ 3520 h 3520"/>
              <a:gd name="T54" fmla="*/ 2230 w 2925"/>
              <a:gd name="T55" fmla="*/ 3436 h 3520"/>
              <a:gd name="T56" fmla="*/ 1596 w 2925"/>
              <a:gd name="T57" fmla="*/ 3200 h 3520"/>
              <a:gd name="T58" fmla="*/ 1042 w 2925"/>
              <a:gd name="T59" fmla="*/ 2832 h 3520"/>
              <a:gd name="T60" fmla="*/ 586 w 2925"/>
              <a:gd name="T61" fmla="*/ 2349 h 3520"/>
              <a:gd name="T62" fmla="*/ 249 w 2925"/>
              <a:gd name="T63" fmla="*/ 1774 h 3520"/>
              <a:gd name="T64" fmla="*/ 48 w 2925"/>
              <a:gd name="T65" fmla="*/ 1122 h 3520"/>
              <a:gd name="T66" fmla="*/ 0 w 2925"/>
              <a:gd name="T67" fmla="*/ 597 h 3520"/>
              <a:gd name="T68" fmla="*/ 0 w 2925"/>
              <a:gd name="T69" fmla="*/ 585 h 3520"/>
              <a:gd name="T70" fmla="*/ 5 w 2925"/>
              <a:gd name="T71" fmla="*/ 525 h 3520"/>
              <a:gd name="T72" fmla="*/ 16 w 2925"/>
              <a:gd name="T73" fmla="*/ 466 h 3520"/>
              <a:gd name="T74" fmla="*/ 32 w 2925"/>
              <a:gd name="T75" fmla="*/ 409 h 3520"/>
              <a:gd name="T76" fmla="*/ 53 w 2925"/>
              <a:gd name="T77" fmla="*/ 356 h 3520"/>
              <a:gd name="T78" fmla="*/ 78 w 2925"/>
              <a:gd name="T79" fmla="*/ 304 h 3520"/>
              <a:gd name="T80" fmla="*/ 110 w 2925"/>
              <a:gd name="T81" fmla="*/ 255 h 3520"/>
              <a:gd name="T82" fmla="*/ 146 w 2925"/>
              <a:gd name="T83" fmla="*/ 210 h 3520"/>
              <a:gd name="T84" fmla="*/ 185 w 2925"/>
              <a:gd name="T85" fmla="*/ 167 h 3520"/>
              <a:gd name="T86" fmla="*/ 229 w 2925"/>
              <a:gd name="T87" fmla="*/ 130 h 3520"/>
              <a:gd name="T88" fmla="*/ 277 w 2925"/>
              <a:gd name="T89" fmla="*/ 96 h 3520"/>
              <a:gd name="T90" fmla="*/ 327 w 2925"/>
              <a:gd name="T91" fmla="*/ 66 h 3520"/>
              <a:gd name="T92" fmla="*/ 380 w 2925"/>
              <a:gd name="T93" fmla="*/ 43 h 3520"/>
              <a:gd name="T94" fmla="*/ 439 w 2925"/>
              <a:gd name="T95" fmla="*/ 24 h 3520"/>
              <a:gd name="T96" fmla="*/ 494 w 2925"/>
              <a:gd name="T97" fmla="*/ 9 h 3520"/>
              <a:gd name="T98" fmla="*/ 563 w 2925"/>
              <a:gd name="T99" fmla="*/ 2 h 35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925" h="3520">
                <a:moveTo>
                  <a:pt x="600" y="0"/>
                </a:moveTo>
                <a:lnTo>
                  <a:pt x="632" y="0"/>
                </a:lnTo>
                <a:lnTo>
                  <a:pt x="641" y="2"/>
                </a:lnTo>
                <a:lnTo>
                  <a:pt x="661" y="2"/>
                </a:lnTo>
                <a:lnTo>
                  <a:pt x="673" y="4"/>
                </a:lnTo>
                <a:lnTo>
                  <a:pt x="691" y="8"/>
                </a:lnTo>
                <a:lnTo>
                  <a:pt x="703" y="9"/>
                </a:lnTo>
                <a:lnTo>
                  <a:pt x="719" y="11"/>
                </a:lnTo>
                <a:lnTo>
                  <a:pt x="733" y="15"/>
                </a:lnTo>
                <a:lnTo>
                  <a:pt x="749" y="18"/>
                </a:lnTo>
                <a:lnTo>
                  <a:pt x="762" y="22"/>
                </a:lnTo>
                <a:lnTo>
                  <a:pt x="776" y="27"/>
                </a:lnTo>
                <a:lnTo>
                  <a:pt x="790" y="31"/>
                </a:lnTo>
                <a:lnTo>
                  <a:pt x="804" y="36"/>
                </a:lnTo>
                <a:lnTo>
                  <a:pt x="817" y="41"/>
                </a:lnTo>
                <a:lnTo>
                  <a:pt x="831" y="45"/>
                </a:lnTo>
                <a:lnTo>
                  <a:pt x="843" y="52"/>
                </a:lnTo>
                <a:lnTo>
                  <a:pt x="858" y="57"/>
                </a:lnTo>
                <a:lnTo>
                  <a:pt x="870" y="64"/>
                </a:lnTo>
                <a:lnTo>
                  <a:pt x="883" y="70"/>
                </a:lnTo>
                <a:lnTo>
                  <a:pt x="895" y="77"/>
                </a:lnTo>
                <a:lnTo>
                  <a:pt x="907" y="84"/>
                </a:lnTo>
                <a:lnTo>
                  <a:pt x="920" y="93"/>
                </a:lnTo>
                <a:lnTo>
                  <a:pt x="930" y="98"/>
                </a:lnTo>
                <a:lnTo>
                  <a:pt x="945" y="109"/>
                </a:lnTo>
                <a:lnTo>
                  <a:pt x="954" y="116"/>
                </a:lnTo>
                <a:lnTo>
                  <a:pt x="968" y="125"/>
                </a:lnTo>
                <a:lnTo>
                  <a:pt x="977" y="132"/>
                </a:lnTo>
                <a:lnTo>
                  <a:pt x="989" y="143"/>
                </a:lnTo>
                <a:lnTo>
                  <a:pt x="998" y="150"/>
                </a:lnTo>
                <a:lnTo>
                  <a:pt x="1010" y="162"/>
                </a:lnTo>
                <a:lnTo>
                  <a:pt x="1019" y="169"/>
                </a:lnTo>
                <a:lnTo>
                  <a:pt x="1032" y="182"/>
                </a:lnTo>
                <a:lnTo>
                  <a:pt x="1039" y="189"/>
                </a:lnTo>
                <a:lnTo>
                  <a:pt x="1051" y="203"/>
                </a:lnTo>
                <a:lnTo>
                  <a:pt x="1057" y="210"/>
                </a:lnTo>
                <a:lnTo>
                  <a:pt x="1069" y="224"/>
                </a:lnTo>
                <a:lnTo>
                  <a:pt x="1069" y="224"/>
                </a:lnTo>
                <a:lnTo>
                  <a:pt x="1074" y="231"/>
                </a:lnTo>
                <a:lnTo>
                  <a:pt x="1087" y="247"/>
                </a:lnTo>
                <a:lnTo>
                  <a:pt x="1092" y="255"/>
                </a:lnTo>
                <a:lnTo>
                  <a:pt x="1103" y="271"/>
                </a:lnTo>
                <a:lnTo>
                  <a:pt x="1108" y="278"/>
                </a:lnTo>
                <a:lnTo>
                  <a:pt x="1117" y="294"/>
                </a:lnTo>
                <a:lnTo>
                  <a:pt x="1122" y="303"/>
                </a:lnTo>
                <a:lnTo>
                  <a:pt x="1131" y="319"/>
                </a:lnTo>
                <a:lnTo>
                  <a:pt x="1135" y="327"/>
                </a:lnTo>
                <a:lnTo>
                  <a:pt x="1144" y="345"/>
                </a:lnTo>
                <a:lnTo>
                  <a:pt x="1147" y="352"/>
                </a:lnTo>
                <a:lnTo>
                  <a:pt x="1156" y="370"/>
                </a:lnTo>
                <a:lnTo>
                  <a:pt x="1160" y="379"/>
                </a:lnTo>
                <a:lnTo>
                  <a:pt x="1167" y="398"/>
                </a:lnTo>
                <a:lnTo>
                  <a:pt x="1168" y="404"/>
                </a:lnTo>
                <a:lnTo>
                  <a:pt x="1176" y="425"/>
                </a:lnTo>
                <a:lnTo>
                  <a:pt x="1177" y="432"/>
                </a:lnTo>
                <a:lnTo>
                  <a:pt x="1183" y="454"/>
                </a:lnTo>
                <a:lnTo>
                  <a:pt x="1184" y="459"/>
                </a:lnTo>
                <a:lnTo>
                  <a:pt x="1188" y="475"/>
                </a:lnTo>
                <a:lnTo>
                  <a:pt x="1200" y="592"/>
                </a:lnTo>
                <a:lnTo>
                  <a:pt x="1202" y="592"/>
                </a:lnTo>
                <a:lnTo>
                  <a:pt x="1202" y="597"/>
                </a:lnTo>
                <a:lnTo>
                  <a:pt x="1200" y="597"/>
                </a:lnTo>
                <a:lnTo>
                  <a:pt x="1208" y="738"/>
                </a:lnTo>
                <a:lnTo>
                  <a:pt x="1223" y="875"/>
                </a:lnTo>
                <a:lnTo>
                  <a:pt x="1252" y="1008"/>
                </a:lnTo>
                <a:lnTo>
                  <a:pt x="1289" y="1138"/>
                </a:lnTo>
                <a:lnTo>
                  <a:pt x="1335" y="1262"/>
                </a:lnTo>
                <a:lnTo>
                  <a:pt x="1392" y="1383"/>
                </a:lnTo>
                <a:lnTo>
                  <a:pt x="1458" y="1498"/>
                </a:lnTo>
                <a:lnTo>
                  <a:pt x="1531" y="1607"/>
                </a:lnTo>
                <a:lnTo>
                  <a:pt x="1612" y="1710"/>
                </a:lnTo>
                <a:lnTo>
                  <a:pt x="1701" y="1807"/>
                </a:lnTo>
                <a:lnTo>
                  <a:pt x="1797" y="1896"/>
                </a:lnTo>
                <a:lnTo>
                  <a:pt x="1898" y="1980"/>
                </a:lnTo>
                <a:lnTo>
                  <a:pt x="2008" y="2053"/>
                </a:lnTo>
                <a:lnTo>
                  <a:pt x="2122" y="2120"/>
                </a:lnTo>
                <a:lnTo>
                  <a:pt x="2241" y="2177"/>
                </a:lnTo>
                <a:lnTo>
                  <a:pt x="2367" y="2225"/>
                </a:lnTo>
                <a:lnTo>
                  <a:pt x="2495" y="2264"/>
                </a:lnTo>
                <a:lnTo>
                  <a:pt x="2628" y="2292"/>
                </a:lnTo>
                <a:lnTo>
                  <a:pt x="2765" y="2310"/>
                </a:lnTo>
                <a:lnTo>
                  <a:pt x="2905" y="2317"/>
                </a:lnTo>
                <a:lnTo>
                  <a:pt x="2855" y="2323"/>
                </a:lnTo>
                <a:lnTo>
                  <a:pt x="2807" y="2331"/>
                </a:lnTo>
                <a:lnTo>
                  <a:pt x="2740" y="2349"/>
                </a:lnTo>
                <a:lnTo>
                  <a:pt x="2674" y="2376"/>
                </a:lnTo>
                <a:lnTo>
                  <a:pt x="2614" y="2410"/>
                </a:lnTo>
                <a:lnTo>
                  <a:pt x="2559" y="2450"/>
                </a:lnTo>
                <a:lnTo>
                  <a:pt x="2504" y="2500"/>
                </a:lnTo>
                <a:lnTo>
                  <a:pt x="2454" y="2557"/>
                </a:lnTo>
                <a:lnTo>
                  <a:pt x="2413" y="2621"/>
                </a:lnTo>
                <a:lnTo>
                  <a:pt x="2380" y="2689"/>
                </a:lnTo>
                <a:lnTo>
                  <a:pt x="2355" y="2761"/>
                </a:lnTo>
                <a:lnTo>
                  <a:pt x="2339" y="2838"/>
                </a:lnTo>
                <a:lnTo>
                  <a:pt x="2333" y="2918"/>
                </a:lnTo>
                <a:lnTo>
                  <a:pt x="2339" y="2999"/>
                </a:lnTo>
                <a:lnTo>
                  <a:pt x="2355" y="3076"/>
                </a:lnTo>
                <a:lnTo>
                  <a:pt x="2381" y="3150"/>
                </a:lnTo>
                <a:lnTo>
                  <a:pt x="2415" y="3218"/>
                </a:lnTo>
                <a:lnTo>
                  <a:pt x="2458" y="3282"/>
                </a:lnTo>
                <a:lnTo>
                  <a:pt x="2507" y="3341"/>
                </a:lnTo>
                <a:lnTo>
                  <a:pt x="2564" y="3390"/>
                </a:lnTo>
                <a:lnTo>
                  <a:pt x="2626" y="3435"/>
                </a:lnTo>
                <a:lnTo>
                  <a:pt x="2696" y="3468"/>
                </a:lnTo>
                <a:lnTo>
                  <a:pt x="2768" y="3495"/>
                </a:lnTo>
                <a:lnTo>
                  <a:pt x="2845" y="3513"/>
                </a:lnTo>
                <a:lnTo>
                  <a:pt x="2925" y="3520"/>
                </a:lnTo>
                <a:lnTo>
                  <a:pt x="2925" y="3520"/>
                </a:lnTo>
                <a:lnTo>
                  <a:pt x="2747" y="3515"/>
                </a:lnTo>
                <a:lnTo>
                  <a:pt x="2571" y="3499"/>
                </a:lnTo>
                <a:lnTo>
                  <a:pt x="2399" y="3472"/>
                </a:lnTo>
                <a:lnTo>
                  <a:pt x="2230" y="3436"/>
                </a:lnTo>
                <a:lnTo>
                  <a:pt x="2065" y="3390"/>
                </a:lnTo>
                <a:lnTo>
                  <a:pt x="1905" y="3337"/>
                </a:lnTo>
                <a:lnTo>
                  <a:pt x="1749" y="3273"/>
                </a:lnTo>
                <a:lnTo>
                  <a:pt x="1596" y="3200"/>
                </a:lnTo>
                <a:lnTo>
                  <a:pt x="1449" y="3120"/>
                </a:lnTo>
                <a:lnTo>
                  <a:pt x="1309" y="3031"/>
                </a:lnTo>
                <a:lnTo>
                  <a:pt x="1172" y="2935"/>
                </a:lnTo>
                <a:lnTo>
                  <a:pt x="1042" y="2832"/>
                </a:lnTo>
                <a:lnTo>
                  <a:pt x="918" y="2721"/>
                </a:lnTo>
                <a:lnTo>
                  <a:pt x="801" y="2603"/>
                </a:lnTo>
                <a:lnTo>
                  <a:pt x="689" y="2479"/>
                </a:lnTo>
                <a:lnTo>
                  <a:pt x="586" y="2349"/>
                </a:lnTo>
                <a:lnTo>
                  <a:pt x="490" y="2214"/>
                </a:lnTo>
                <a:lnTo>
                  <a:pt x="401" y="2072"/>
                </a:lnTo>
                <a:lnTo>
                  <a:pt x="320" y="1925"/>
                </a:lnTo>
                <a:lnTo>
                  <a:pt x="249" y="1774"/>
                </a:lnTo>
                <a:lnTo>
                  <a:pt x="185" y="1617"/>
                </a:lnTo>
                <a:lnTo>
                  <a:pt x="130" y="1456"/>
                </a:lnTo>
                <a:lnTo>
                  <a:pt x="83" y="1290"/>
                </a:lnTo>
                <a:lnTo>
                  <a:pt x="48" y="1122"/>
                </a:lnTo>
                <a:lnTo>
                  <a:pt x="21" y="949"/>
                </a:lnTo>
                <a:lnTo>
                  <a:pt x="5" y="775"/>
                </a:lnTo>
                <a:lnTo>
                  <a:pt x="0" y="597"/>
                </a:lnTo>
                <a:lnTo>
                  <a:pt x="0" y="597"/>
                </a:lnTo>
                <a:lnTo>
                  <a:pt x="0" y="596"/>
                </a:lnTo>
                <a:lnTo>
                  <a:pt x="0" y="594"/>
                </a:lnTo>
                <a:lnTo>
                  <a:pt x="0" y="592"/>
                </a:lnTo>
                <a:lnTo>
                  <a:pt x="0" y="585"/>
                </a:lnTo>
                <a:lnTo>
                  <a:pt x="2" y="562"/>
                </a:lnTo>
                <a:lnTo>
                  <a:pt x="2" y="555"/>
                </a:lnTo>
                <a:lnTo>
                  <a:pt x="4" y="532"/>
                </a:lnTo>
                <a:lnTo>
                  <a:pt x="5" y="525"/>
                </a:lnTo>
                <a:lnTo>
                  <a:pt x="9" y="502"/>
                </a:lnTo>
                <a:lnTo>
                  <a:pt x="9" y="494"/>
                </a:lnTo>
                <a:lnTo>
                  <a:pt x="14" y="473"/>
                </a:lnTo>
                <a:lnTo>
                  <a:pt x="16" y="466"/>
                </a:lnTo>
                <a:lnTo>
                  <a:pt x="21" y="445"/>
                </a:lnTo>
                <a:lnTo>
                  <a:pt x="23" y="438"/>
                </a:lnTo>
                <a:lnTo>
                  <a:pt x="30" y="416"/>
                </a:lnTo>
                <a:lnTo>
                  <a:pt x="32" y="409"/>
                </a:lnTo>
                <a:lnTo>
                  <a:pt x="39" y="388"/>
                </a:lnTo>
                <a:lnTo>
                  <a:pt x="41" y="382"/>
                </a:lnTo>
                <a:lnTo>
                  <a:pt x="50" y="361"/>
                </a:lnTo>
                <a:lnTo>
                  <a:pt x="53" y="356"/>
                </a:lnTo>
                <a:lnTo>
                  <a:pt x="62" y="335"/>
                </a:lnTo>
                <a:lnTo>
                  <a:pt x="66" y="329"/>
                </a:lnTo>
                <a:lnTo>
                  <a:pt x="76" y="310"/>
                </a:lnTo>
                <a:lnTo>
                  <a:pt x="78" y="304"/>
                </a:lnTo>
                <a:lnTo>
                  <a:pt x="91" y="285"/>
                </a:lnTo>
                <a:lnTo>
                  <a:pt x="94" y="279"/>
                </a:lnTo>
                <a:lnTo>
                  <a:pt x="107" y="260"/>
                </a:lnTo>
                <a:lnTo>
                  <a:pt x="110" y="255"/>
                </a:lnTo>
                <a:lnTo>
                  <a:pt x="123" y="237"/>
                </a:lnTo>
                <a:lnTo>
                  <a:pt x="128" y="231"/>
                </a:lnTo>
                <a:lnTo>
                  <a:pt x="140" y="215"/>
                </a:lnTo>
                <a:lnTo>
                  <a:pt x="146" y="210"/>
                </a:lnTo>
                <a:lnTo>
                  <a:pt x="160" y="194"/>
                </a:lnTo>
                <a:lnTo>
                  <a:pt x="165" y="189"/>
                </a:lnTo>
                <a:lnTo>
                  <a:pt x="179" y="173"/>
                </a:lnTo>
                <a:lnTo>
                  <a:pt x="185" y="167"/>
                </a:lnTo>
                <a:lnTo>
                  <a:pt x="201" y="153"/>
                </a:lnTo>
                <a:lnTo>
                  <a:pt x="206" y="148"/>
                </a:lnTo>
                <a:lnTo>
                  <a:pt x="222" y="136"/>
                </a:lnTo>
                <a:lnTo>
                  <a:pt x="229" y="130"/>
                </a:lnTo>
                <a:lnTo>
                  <a:pt x="245" y="118"/>
                </a:lnTo>
                <a:lnTo>
                  <a:pt x="252" y="112"/>
                </a:lnTo>
                <a:lnTo>
                  <a:pt x="268" y="102"/>
                </a:lnTo>
                <a:lnTo>
                  <a:pt x="277" y="96"/>
                </a:lnTo>
                <a:lnTo>
                  <a:pt x="291" y="86"/>
                </a:lnTo>
                <a:lnTo>
                  <a:pt x="300" y="80"/>
                </a:lnTo>
                <a:lnTo>
                  <a:pt x="316" y="72"/>
                </a:lnTo>
                <a:lnTo>
                  <a:pt x="327" y="66"/>
                </a:lnTo>
                <a:lnTo>
                  <a:pt x="343" y="59"/>
                </a:lnTo>
                <a:lnTo>
                  <a:pt x="352" y="54"/>
                </a:lnTo>
                <a:lnTo>
                  <a:pt x="369" y="47"/>
                </a:lnTo>
                <a:lnTo>
                  <a:pt x="380" y="43"/>
                </a:lnTo>
                <a:lnTo>
                  <a:pt x="396" y="36"/>
                </a:lnTo>
                <a:lnTo>
                  <a:pt x="408" y="32"/>
                </a:lnTo>
                <a:lnTo>
                  <a:pt x="424" y="27"/>
                </a:lnTo>
                <a:lnTo>
                  <a:pt x="439" y="24"/>
                </a:lnTo>
                <a:lnTo>
                  <a:pt x="453" y="18"/>
                </a:lnTo>
                <a:lnTo>
                  <a:pt x="465" y="15"/>
                </a:lnTo>
                <a:lnTo>
                  <a:pt x="481" y="13"/>
                </a:lnTo>
                <a:lnTo>
                  <a:pt x="494" y="9"/>
                </a:lnTo>
                <a:lnTo>
                  <a:pt x="510" y="8"/>
                </a:lnTo>
                <a:lnTo>
                  <a:pt x="526" y="6"/>
                </a:lnTo>
                <a:lnTo>
                  <a:pt x="540" y="4"/>
                </a:lnTo>
                <a:lnTo>
                  <a:pt x="563" y="2"/>
                </a:lnTo>
                <a:lnTo>
                  <a:pt x="570" y="0"/>
                </a:lnTo>
                <a:lnTo>
                  <a:pt x="600" y="0"/>
                </a:lnTo>
                <a:close/>
              </a:path>
            </a:pathLst>
          </a:custGeom>
          <a:solidFill>
            <a:schemeClr val="accent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Freeform 52"/>
          <p:cNvSpPr>
            <a:spLocks/>
          </p:cNvSpPr>
          <p:nvPr/>
        </p:nvSpPr>
        <p:spPr bwMode="auto">
          <a:xfrm>
            <a:off x="1462658" y="2664875"/>
            <a:ext cx="9152" cy="80728"/>
          </a:xfrm>
          <a:custGeom>
            <a:avLst/>
            <a:gdLst>
              <a:gd name="T0" fmla="*/ 0 w 14"/>
              <a:gd name="T1" fmla="*/ 0 h 117"/>
              <a:gd name="T2" fmla="*/ 2 w 14"/>
              <a:gd name="T3" fmla="*/ 7 h 117"/>
              <a:gd name="T4" fmla="*/ 4 w 14"/>
              <a:gd name="T5" fmla="*/ 12 h 117"/>
              <a:gd name="T6" fmla="*/ 7 w 14"/>
              <a:gd name="T7" fmla="*/ 35 h 117"/>
              <a:gd name="T8" fmla="*/ 7 w 14"/>
              <a:gd name="T9" fmla="*/ 41 h 117"/>
              <a:gd name="T10" fmla="*/ 11 w 14"/>
              <a:gd name="T11" fmla="*/ 66 h 117"/>
              <a:gd name="T12" fmla="*/ 11 w 14"/>
              <a:gd name="T13" fmla="*/ 69 h 117"/>
              <a:gd name="T14" fmla="*/ 12 w 14"/>
              <a:gd name="T15" fmla="*/ 96 h 117"/>
              <a:gd name="T16" fmla="*/ 14 w 14"/>
              <a:gd name="T17" fmla="*/ 117 h 117"/>
              <a:gd name="T18" fmla="*/ 12 w 14"/>
              <a:gd name="T19" fmla="*/ 117 h 117"/>
              <a:gd name="T20" fmla="*/ 0 w 14"/>
              <a:gd name="T21" fmla="*/ 0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4" h="117">
                <a:moveTo>
                  <a:pt x="0" y="0"/>
                </a:moveTo>
                <a:lnTo>
                  <a:pt x="2" y="7"/>
                </a:lnTo>
                <a:lnTo>
                  <a:pt x="4" y="12"/>
                </a:lnTo>
                <a:lnTo>
                  <a:pt x="7" y="35"/>
                </a:lnTo>
                <a:lnTo>
                  <a:pt x="7" y="41"/>
                </a:lnTo>
                <a:lnTo>
                  <a:pt x="11" y="66"/>
                </a:lnTo>
                <a:lnTo>
                  <a:pt x="11" y="69"/>
                </a:lnTo>
                <a:lnTo>
                  <a:pt x="12" y="96"/>
                </a:lnTo>
                <a:lnTo>
                  <a:pt x="14" y="117"/>
                </a:lnTo>
                <a:lnTo>
                  <a:pt x="12" y="117"/>
                </a:lnTo>
                <a:lnTo>
                  <a:pt x="0" y="0"/>
                </a:lnTo>
                <a:close/>
              </a:path>
            </a:pathLst>
          </a:custGeom>
          <a:solidFill>
            <a:srgbClr val="EAF0F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Freeform 53"/>
          <p:cNvSpPr>
            <a:spLocks/>
          </p:cNvSpPr>
          <p:nvPr/>
        </p:nvSpPr>
        <p:spPr bwMode="auto">
          <a:xfrm>
            <a:off x="1469195" y="2736024"/>
            <a:ext cx="2615" cy="9578"/>
          </a:xfrm>
          <a:custGeom>
            <a:avLst/>
            <a:gdLst>
              <a:gd name="T0" fmla="*/ 0 w 3"/>
              <a:gd name="T1" fmla="*/ 0 h 14"/>
              <a:gd name="T2" fmla="*/ 3 w 3"/>
              <a:gd name="T3" fmla="*/ 2 h 14"/>
              <a:gd name="T4" fmla="*/ 3 w 3"/>
              <a:gd name="T5" fmla="*/ 14 h 14"/>
              <a:gd name="T6" fmla="*/ 1 w 3"/>
              <a:gd name="T7" fmla="*/ 14 h 14"/>
              <a:gd name="T8" fmla="*/ 0 w 3"/>
              <a:gd name="T9" fmla="*/ 0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14">
                <a:moveTo>
                  <a:pt x="0" y="0"/>
                </a:moveTo>
                <a:lnTo>
                  <a:pt x="3" y="2"/>
                </a:lnTo>
                <a:lnTo>
                  <a:pt x="3" y="14"/>
                </a:lnTo>
                <a:lnTo>
                  <a:pt x="1" y="14"/>
                </a:lnTo>
                <a:lnTo>
                  <a:pt x="0" y="0"/>
                </a:lnTo>
                <a:close/>
              </a:path>
            </a:pathLst>
          </a:custGeom>
          <a:solidFill>
            <a:srgbClr val="FA6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Freeform 54"/>
          <p:cNvSpPr>
            <a:spLocks/>
          </p:cNvSpPr>
          <p:nvPr/>
        </p:nvSpPr>
        <p:spPr bwMode="auto">
          <a:xfrm>
            <a:off x="1467888" y="2718237"/>
            <a:ext cx="3923" cy="19156"/>
          </a:xfrm>
          <a:custGeom>
            <a:avLst/>
            <a:gdLst>
              <a:gd name="T0" fmla="*/ 0 w 5"/>
              <a:gd name="T1" fmla="*/ 0 h 29"/>
              <a:gd name="T2" fmla="*/ 3 w 5"/>
              <a:gd name="T3" fmla="*/ 4 h 29"/>
              <a:gd name="T4" fmla="*/ 3 w 5"/>
              <a:gd name="T5" fmla="*/ 20 h 29"/>
              <a:gd name="T6" fmla="*/ 5 w 5"/>
              <a:gd name="T7" fmla="*/ 29 h 29"/>
              <a:gd name="T8" fmla="*/ 2 w 5"/>
              <a:gd name="T9" fmla="*/ 27 h 29"/>
              <a:gd name="T10" fmla="*/ 0 w 5"/>
              <a:gd name="T11" fmla="*/ 0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" h="29">
                <a:moveTo>
                  <a:pt x="0" y="0"/>
                </a:moveTo>
                <a:lnTo>
                  <a:pt x="3" y="4"/>
                </a:lnTo>
                <a:lnTo>
                  <a:pt x="3" y="20"/>
                </a:lnTo>
                <a:lnTo>
                  <a:pt x="5" y="29"/>
                </a:lnTo>
                <a:lnTo>
                  <a:pt x="2" y="27"/>
                </a:lnTo>
                <a:lnTo>
                  <a:pt x="0" y="0"/>
                </a:lnTo>
                <a:close/>
              </a:path>
            </a:pathLst>
          </a:custGeom>
          <a:solidFill>
            <a:srgbClr val="FA6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Freeform 55"/>
          <p:cNvSpPr>
            <a:spLocks/>
          </p:cNvSpPr>
          <p:nvPr/>
        </p:nvSpPr>
        <p:spPr bwMode="auto">
          <a:xfrm>
            <a:off x="1466581" y="2699082"/>
            <a:ext cx="3923" cy="20524"/>
          </a:xfrm>
          <a:custGeom>
            <a:avLst/>
            <a:gdLst>
              <a:gd name="T0" fmla="*/ 0 w 7"/>
              <a:gd name="T1" fmla="*/ 0 h 30"/>
              <a:gd name="T2" fmla="*/ 4 w 7"/>
              <a:gd name="T3" fmla="*/ 3 h 30"/>
              <a:gd name="T4" fmla="*/ 6 w 7"/>
              <a:gd name="T5" fmla="*/ 16 h 30"/>
              <a:gd name="T6" fmla="*/ 6 w 7"/>
              <a:gd name="T7" fmla="*/ 19 h 30"/>
              <a:gd name="T8" fmla="*/ 7 w 7"/>
              <a:gd name="T9" fmla="*/ 30 h 30"/>
              <a:gd name="T10" fmla="*/ 4 w 7"/>
              <a:gd name="T11" fmla="*/ 26 h 30"/>
              <a:gd name="T12" fmla="*/ 0 w 7"/>
              <a:gd name="T13" fmla="*/ 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" h="30">
                <a:moveTo>
                  <a:pt x="0" y="0"/>
                </a:moveTo>
                <a:lnTo>
                  <a:pt x="4" y="3"/>
                </a:lnTo>
                <a:lnTo>
                  <a:pt x="6" y="16"/>
                </a:lnTo>
                <a:lnTo>
                  <a:pt x="6" y="19"/>
                </a:lnTo>
                <a:lnTo>
                  <a:pt x="7" y="30"/>
                </a:lnTo>
                <a:lnTo>
                  <a:pt x="4" y="26"/>
                </a:lnTo>
                <a:lnTo>
                  <a:pt x="0" y="0"/>
                </a:lnTo>
                <a:close/>
              </a:path>
            </a:pathLst>
          </a:custGeom>
          <a:solidFill>
            <a:srgbClr val="FA6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Freeform 56"/>
          <p:cNvSpPr>
            <a:spLocks/>
          </p:cNvSpPr>
          <p:nvPr/>
        </p:nvSpPr>
        <p:spPr bwMode="auto">
          <a:xfrm>
            <a:off x="1465273" y="2681294"/>
            <a:ext cx="2615" cy="20524"/>
          </a:xfrm>
          <a:custGeom>
            <a:avLst/>
            <a:gdLst>
              <a:gd name="T0" fmla="*/ 0 w 5"/>
              <a:gd name="T1" fmla="*/ 0 h 30"/>
              <a:gd name="T2" fmla="*/ 1 w 5"/>
              <a:gd name="T3" fmla="*/ 4 h 30"/>
              <a:gd name="T4" fmla="*/ 3 w 5"/>
              <a:gd name="T5" fmla="*/ 12 h 30"/>
              <a:gd name="T6" fmla="*/ 3 w 5"/>
              <a:gd name="T7" fmla="*/ 18 h 30"/>
              <a:gd name="T8" fmla="*/ 5 w 5"/>
              <a:gd name="T9" fmla="*/ 30 h 30"/>
              <a:gd name="T10" fmla="*/ 1 w 5"/>
              <a:gd name="T11" fmla="*/ 27 h 30"/>
              <a:gd name="T12" fmla="*/ 0 w 5"/>
              <a:gd name="T13" fmla="*/ 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" h="30">
                <a:moveTo>
                  <a:pt x="0" y="0"/>
                </a:moveTo>
                <a:lnTo>
                  <a:pt x="1" y="4"/>
                </a:lnTo>
                <a:lnTo>
                  <a:pt x="3" y="12"/>
                </a:lnTo>
                <a:lnTo>
                  <a:pt x="3" y="18"/>
                </a:lnTo>
                <a:lnTo>
                  <a:pt x="5" y="30"/>
                </a:lnTo>
                <a:lnTo>
                  <a:pt x="1" y="27"/>
                </a:lnTo>
                <a:lnTo>
                  <a:pt x="0" y="0"/>
                </a:lnTo>
                <a:close/>
              </a:path>
            </a:pathLst>
          </a:custGeom>
          <a:solidFill>
            <a:srgbClr val="FA65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Freeform 57"/>
          <p:cNvSpPr>
            <a:spLocks/>
          </p:cNvSpPr>
          <p:nvPr/>
        </p:nvSpPr>
        <p:spPr bwMode="auto">
          <a:xfrm>
            <a:off x="1462658" y="2664875"/>
            <a:ext cx="3923" cy="19156"/>
          </a:xfrm>
          <a:custGeom>
            <a:avLst/>
            <a:gdLst>
              <a:gd name="T0" fmla="*/ 0 w 5"/>
              <a:gd name="T1" fmla="*/ 0 h 27"/>
              <a:gd name="T2" fmla="*/ 2 w 5"/>
              <a:gd name="T3" fmla="*/ 7 h 27"/>
              <a:gd name="T4" fmla="*/ 4 w 5"/>
              <a:gd name="T5" fmla="*/ 12 h 27"/>
              <a:gd name="T6" fmla="*/ 5 w 5"/>
              <a:gd name="T7" fmla="*/ 27 h 27"/>
              <a:gd name="T8" fmla="*/ 4 w 5"/>
              <a:gd name="T9" fmla="*/ 23 h 27"/>
              <a:gd name="T10" fmla="*/ 0 w 5"/>
              <a:gd name="T11" fmla="*/ 0 h 27"/>
              <a:gd name="T12" fmla="*/ 0 w 5"/>
              <a:gd name="T13" fmla="*/ 0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" h="27">
                <a:moveTo>
                  <a:pt x="0" y="0"/>
                </a:moveTo>
                <a:lnTo>
                  <a:pt x="2" y="7"/>
                </a:lnTo>
                <a:lnTo>
                  <a:pt x="4" y="12"/>
                </a:lnTo>
                <a:lnTo>
                  <a:pt x="5" y="27"/>
                </a:lnTo>
                <a:lnTo>
                  <a:pt x="4" y="23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FA65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Freeform 58"/>
          <p:cNvSpPr>
            <a:spLocks/>
          </p:cNvSpPr>
          <p:nvPr/>
        </p:nvSpPr>
        <p:spPr bwMode="auto">
          <a:xfrm>
            <a:off x="2211789" y="2746970"/>
            <a:ext cx="2299689" cy="2001763"/>
          </a:xfrm>
          <a:custGeom>
            <a:avLst/>
            <a:gdLst>
              <a:gd name="T0" fmla="*/ 2321 w 3518"/>
              <a:gd name="T1" fmla="*/ 59 h 2926"/>
              <a:gd name="T2" fmla="*/ 2350 w 3518"/>
              <a:gd name="T3" fmla="*/ 185 h 2926"/>
              <a:gd name="T4" fmla="*/ 2408 w 3518"/>
              <a:gd name="T5" fmla="*/ 313 h 2926"/>
              <a:gd name="T6" fmla="*/ 2499 w 3518"/>
              <a:gd name="T7" fmla="*/ 425 h 2926"/>
              <a:gd name="T8" fmla="*/ 2620 w 3518"/>
              <a:gd name="T9" fmla="*/ 515 h 2926"/>
              <a:gd name="T10" fmla="*/ 2762 w 3518"/>
              <a:gd name="T11" fmla="*/ 574 h 2926"/>
              <a:gd name="T12" fmla="*/ 2918 w 3518"/>
              <a:gd name="T13" fmla="*/ 595 h 2926"/>
              <a:gd name="T14" fmla="*/ 3072 w 3518"/>
              <a:gd name="T15" fmla="*/ 576 h 2926"/>
              <a:gd name="T16" fmla="*/ 3211 w 3518"/>
              <a:gd name="T17" fmla="*/ 519 h 2926"/>
              <a:gd name="T18" fmla="*/ 3330 w 3518"/>
              <a:gd name="T19" fmla="*/ 432 h 2926"/>
              <a:gd name="T20" fmla="*/ 3424 w 3518"/>
              <a:gd name="T21" fmla="*/ 320 h 2926"/>
              <a:gd name="T22" fmla="*/ 3488 w 3518"/>
              <a:gd name="T23" fmla="*/ 185 h 2926"/>
              <a:gd name="T24" fmla="*/ 3518 w 3518"/>
              <a:gd name="T25" fmla="*/ 35 h 2926"/>
              <a:gd name="T26" fmla="*/ 3491 w 3518"/>
              <a:gd name="T27" fmla="*/ 398 h 2926"/>
              <a:gd name="T28" fmla="*/ 3422 w 3518"/>
              <a:gd name="T29" fmla="*/ 748 h 2926"/>
              <a:gd name="T30" fmla="*/ 3312 w 3518"/>
              <a:gd name="T31" fmla="*/ 1080 h 2926"/>
              <a:gd name="T32" fmla="*/ 3165 w 3518"/>
              <a:gd name="T33" fmla="*/ 1395 h 2926"/>
              <a:gd name="T34" fmla="*/ 2984 w 3518"/>
              <a:gd name="T35" fmla="*/ 1686 h 2926"/>
              <a:gd name="T36" fmla="*/ 2769 w 3518"/>
              <a:gd name="T37" fmla="*/ 1954 h 2926"/>
              <a:gd name="T38" fmla="*/ 2525 w 3518"/>
              <a:gd name="T39" fmla="*/ 2196 h 2926"/>
              <a:gd name="T40" fmla="*/ 2256 w 3518"/>
              <a:gd name="T41" fmla="*/ 2407 h 2926"/>
              <a:gd name="T42" fmla="*/ 1961 w 3518"/>
              <a:gd name="T43" fmla="*/ 2587 h 2926"/>
              <a:gd name="T44" fmla="*/ 1646 w 3518"/>
              <a:gd name="T45" fmla="*/ 2731 h 2926"/>
              <a:gd name="T46" fmla="*/ 1311 w 3518"/>
              <a:gd name="T47" fmla="*/ 2837 h 2926"/>
              <a:gd name="T48" fmla="*/ 961 w 3518"/>
              <a:gd name="T49" fmla="*/ 2903 h 2926"/>
              <a:gd name="T50" fmla="*/ 597 w 3518"/>
              <a:gd name="T51" fmla="*/ 2926 h 2926"/>
              <a:gd name="T52" fmla="*/ 595 w 3518"/>
              <a:gd name="T53" fmla="*/ 2926 h 2926"/>
              <a:gd name="T54" fmla="*/ 593 w 3518"/>
              <a:gd name="T55" fmla="*/ 2926 h 2926"/>
              <a:gd name="T56" fmla="*/ 512 w 3518"/>
              <a:gd name="T57" fmla="*/ 2919 h 2926"/>
              <a:gd name="T58" fmla="*/ 363 w 3518"/>
              <a:gd name="T59" fmla="*/ 2874 h 2926"/>
              <a:gd name="T60" fmla="*/ 231 w 3518"/>
              <a:gd name="T61" fmla="*/ 2796 h 2926"/>
              <a:gd name="T62" fmla="*/ 125 w 3518"/>
              <a:gd name="T63" fmla="*/ 2688 h 2926"/>
              <a:gd name="T64" fmla="*/ 48 w 3518"/>
              <a:gd name="T65" fmla="*/ 2556 h 2926"/>
              <a:gd name="T66" fmla="*/ 6 w 3518"/>
              <a:gd name="T67" fmla="*/ 2405 h 2926"/>
              <a:gd name="T68" fmla="*/ 6 w 3518"/>
              <a:gd name="T69" fmla="*/ 2244 h 2926"/>
              <a:gd name="T70" fmla="*/ 47 w 3518"/>
              <a:gd name="T71" fmla="*/ 2095 h 2926"/>
              <a:gd name="T72" fmla="*/ 121 w 3518"/>
              <a:gd name="T73" fmla="*/ 1963 h 2926"/>
              <a:gd name="T74" fmla="*/ 226 w 3518"/>
              <a:gd name="T75" fmla="*/ 1856 h 2926"/>
              <a:gd name="T76" fmla="*/ 341 w 3518"/>
              <a:gd name="T77" fmla="*/ 1782 h 2926"/>
              <a:gd name="T78" fmla="*/ 474 w 3518"/>
              <a:gd name="T79" fmla="*/ 1737 h 2926"/>
              <a:gd name="T80" fmla="*/ 572 w 3518"/>
              <a:gd name="T81" fmla="*/ 1723 h 2926"/>
              <a:gd name="T82" fmla="*/ 597 w 3518"/>
              <a:gd name="T83" fmla="*/ 1723 h 2926"/>
              <a:gd name="T84" fmla="*/ 732 w 3518"/>
              <a:gd name="T85" fmla="*/ 1718 h 2926"/>
              <a:gd name="T86" fmla="*/ 991 w 3518"/>
              <a:gd name="T87" fmla="*/ 1677 h 2926"/>
              <a:gd name="T88" fmla="*/ 1238 w 3518"/>
              <a:gd name="T89" fmla="*/ 1599 h 2926"/>
              <a:gd name="T90" fmla="*/ 1465 w 3518"/>
              <a:gd name="T91" fmla="*/ 1487 h 2926"/>
              <a:gd name="T92" fmla="*/ 1673 w 3518"/>
              <a:gd name="T93" fmla="*/ 1343 h 2926"/>
              <a:gd name="T94" fmla="*/ 1858 w 3518"/>
              <a:gd name="T95" fmla="*/ 1172 h 2926"/>
              <a:gd name="T96" fmla="*/ 2014 w 3518"/>
              <a:gd name="T97" fmla="*/ 975 h 2926"/>
              <a:gd name="T98" fmla="*/ 2142 w 3518"/>
              <a:gd name="T99" fmla="*/ 757 h 2926"/>
              <a:gd name="T100" fmla="*/ 2238 w 3518"/>
              <a:gd name="T101" fmla="*/ 519 h 2926"/>
              <a:gd name="T102" fmla="*/ 2296 w 3518"/>
              <a:gd name="T103" fmla="*/ 265 h 2926"/>
              <a:gd name="T104" fmla="*/ 2318 w 3518"/>
              <a:gd name="T105" fmla="*/ 0 h 29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518" h="2926">
                <a:moveTo>
                  <a:pt x="2318" y="0"/>
                </a:moveTo>
                <a:lnTo>
                  <a:pt x="2321" y="59"/>
                </a:lnTo>
                <a:lnTo>
                  <a:pt x="2330" y="117"/>
                </a:lnTo>
                <a:lnTo>
                  <a:pt x="2350" y="185"/>
                </a:lnTo>
                <a:lnTo>
                  <a:pt x="2375" y="250"/>
                </a:lnTo>
                <a:lnTo>
                  <a:pt x="2408" y="313"/>
                </a:lnTo>
                <a:lnTo>
                  <a:pt x="2449" y="368"/>
                </a:lnTo>
                <a:lnTo>
                  <a:pt x="2499" y="425"/>
                </a:lnTo>
                <a:lnTo>
                  <a:pt x="2557" y="474"/>
                </a:lnTo>
                <a:lnTo>
                  <a:pt x="2620" y="515"/>
                </a:lnTo>
                <a:lnTo>
                  <a:pt x="2689" y="549"/>
                </a:lnTo>
                <a:lnTo>
                  <a:pt x="2762" y="574"/>
                </a:lnTo>
                <a:lnTo>
                  <a:pt x="2838" y="590"/>
                </a:lnTo>
                <a:lnTo>
                  <a:pt x="2918" y="595"/>
                </a:lnTo>
                <a:lnTo>
                  <a:pt x="2996" y="590"/>
                </a:lnTo>
                <a:lnTo>
                  <a:pt x="3072" y="576"/>
                </a:lnTo>
                <a:lnTo>
                  <a:pt x="3143" y="551"/>
                </a:lnTo>
                <a:lnTo>
                  <a:pt x="3211" y="519"/>
                </a:lnTo>
                <a:lnTo>
                  <a:pt x="3273" y="480"/>
                </a:lnTo>
                <a:lnTo>
                  <a:pt x="3330" y="432"/>
                </a:lnTo>
                <a:lnTo>
                  <a:pt x="3380" y="378"/>
                </a:lnTo>
                <a:lnTo>
                  <a:pt x="3424" y="320"/>
                </a:lnTo>
                <a:lnTo>
                  <a:pt x="3460" y="254"/>
                </a:lnTo>
                <a:lnTo>
                  <a:pt x="3488" y="185"/>
                </a:lnTo>
                <a:lnTo>
                  <a:pt x="3507" y="112"/>
                </a:lnTo>
                <a:lnTo>
                  <a:pt x="3518" y="35"/>
                </a:lnTo>
                <a:lnTo>
                  <a:pt x="3509" y="218"/>
                </a:lnTo>
                <a:lnTo>
                  <a:pt x="3491" y="398"/>
                </a:lnTo>
                <a:lnTo>
                  <a:pt x="3461" y="576"/>
                </a:lnTo>
                <a:lnTo>
                  <a:pt x="3422" y="748"/>
                </a:lnTo>
                <a:lnTo>
                  <a:pt x="3371" y="917"/>
                </a:lnTo>
                <a:lnTo>
                  <a:pt x="3312" y="1080"/>
                </a:lnTo>
                <a:lnTo>
                  <a:pt x="3243" y="1240"/>
                </a:lnTo>
                <a:lnTo>
                  <a:pt x="3165" y="1395"/>
                </a:lnTo>
                <a:lnTo>
                  <a:pt x="3078" y="1544"/>
                </a:lnTo>
                <a:lnTo>
                  <a:pt x="2984" y="1686"/>
                </a:lnTo>
                <a:lnTo>
                  <a:pt x="2879" y="1824"/>
                </a:lnTo>
                <a:lnTo>
                  <a:pt x="2769" y="1954"/>
                </a:lnTo>
                <a:lnTo>
                  <a:pt x="2650" y="2079"/>
                </a:lnTo>
                <a:lnTo>
                  <a:pt x="2525" y="2196"/>
                </a:lnTo>
                <a:lnTo>
                  <a:pt x="2394" y="2306"/>
                </a:lnTo>
                <a:lnTo>
                  <a:pt x="2256" y="2407"/>
                </a:lnTo>
                <a:lnTo>
                  <a:pt x="2112" y="2501"/>
                </a:lnTo>
                <a:lnTo>
                  <a:pt x="1961" y="2587"/>
                </a:lnTo>
                <a:lnTo>
                  <a:pt x="1806" y="2663"/>
                </a:lnTo>
                <a:lnTo>
                  <a:pt x="1646" y="2731"/>
                </a:lnTo>
                <a:lnTo>
                  <a:pt x="1481" y="2787"/>
                </a:lnTo>
                <a:lnTo>
                  <a:pt x="1311" y="2837"/>
                </a:lnTo>
                <a:lnTo>
                  <a:pt x="1139" y="2874"/>
                </a:lnTo>
                <a:lnTo>
                  <a:pt x="961" y="2903"/>
                </a:lnTo>
                <a:lnTo>
                  <a:pt x="782" y="2919"/>
                </a:lnTo>
                <a:lnTo>
                  <a:pt x="597" y="2926"/>
                </a:lnTo>
                <a:lnTo>
                  <a:pt x="597" y="2926"/>
                </a:lnTo>
                <a:lnTo>
                  <a:pt x="595" y="2926"/>
                </a:lnTo>
                <a:lnTo>
                  <a:pt x="593" y="2926"/>
                </a:lnTo>
                <a:lnTo>
                  <a:pt x="593" y="2926"/>
                </a:lnTo>
                <a:lnTo>
                  <a:pt x="592" y="2926"/>
                </a:lnTo>
                <a:lnTo>
                  <a:pt x="512" y="2919"/>
                </a:lnTo>
                <a:lnTo>
                  <a:pt x="435" y="2901"/>
                </a:lnTo>
                <a:lnTo>
                  <a:pt x="363" y="2874"/>
                </a:lnTo>
                <a:lnTo>
                  <a:pt x="293" y="2841"/>
                </a:lnTo>
                <a:lnTo>
                  <a:pt x="231" y="2796"/>
                </a:lnTo>
                <a:lnTo>
                  <a:pt x="174" y="2747"/>
                </a:lnTo>
                <a:lnTo>
                  <a:pt x="125" y="2688"/>
                </a:lnTo>
                <a:lnTo>
                  <a:pt x="82" y="2624"/>
                </a:lnTo>
                <a:lnTo>
                  <a:pt x="48" y="2556"/>
                </a:lnTo>
                <a:lnTo>
                  <a:pt x="22" y="2482"/>
                </a:lnTo>
                <a:lnTo>
                  <a:pt x="6" y="2405"/>
                </a:lnTo>
                <a:lnTo>
                  <a:pt x="0" y="2324"/>
                </a:lnTo>
                <a:lnTo>
                  <a:pt x="6" y="2244"/>
                </a:lnTo>
                <a:lnTo>
                  <a:pt x="22" y="2167"/>
                </a:lnTo>
                <a:lnTo>
                  <a:pt x="47" y="2095"/>
                </a:lnTo>
                <a:lnTo>
                  <a:pt x="80" y="2027"/>
                </a:lnTo>
                <a:lnTo>
                  <a:pt x="121" y="1963"/>
                </a:lnTo>
                <a:lnTo>
                  <a:pt x="171" y="1906"/>
                </a:lnTo>
                <a:lnTo>
                  <a:pt x="226" y="1856"/>
                </a:lnTo>
                <a:lnTo>
                  <a:pt x="281" y="1816"/>
                </a:lnTo>
                <a:lnTo>
                  <a:pt x="341" y="1782"/>
                </a:lnTo>
                <a:lnTo>
                  <a:pt x="407" y="1755"/>
                </a:lnTo>
                <a:lnTo>
                  <a:pt x="474" y="1737"/>
                </a:lnTo>
                <a:lnTo>
                  <a:pt x="522" y="1729"/>
                </a:lnTo>
                <a:lnTo>
                  <a:pt x="572" y="1723"/>
                </a:lnTo>
                <a:lnTo>
                  <a:pt x="593" y="1723"/>
                </a:lnTo>
                <a:lnTo>
                  <a:pt x="597" y="1723"/>
                </a:lnTo>
                <a:lnTo>
                  <a:pt x="597" y="1723"/>
                </a:lnTo>
                <a:lnTo>
                  <a:pt x="732" y="1718"/>
                </a:lnTo>
                <a:lnTo>
                  <a:pt x="863" y="1702"/>
                </a:lnTo>
                <a:lnTo>
                  <a:pt x="991" y="1677"/>
                </a:lnTo>
                <a:lnTo>
                  <a:pt x="1117" y="1643"/>
                </a:lnTo>
                <a:lnTo>
                  <a:pt x="1238" y="1599"/>
                </a:lnTo>
                <a:lnTo>
                  <a:pt x="1353" y="1547"/>
                </a:lnTo>
                <a:lnTo>
                  <a:pt x="1465" y="1487"/>
                </a:lnTo>
                <a:lnTo>
                  <a:pt x="1572" y="1419"/>
                </a:lnTo>
                <a:lnTo>
                  <a:pt x="1673" y="1343"/>
                </a:lnTo>
                <a:lnTo>
                  <a:pt x="1769" y="1261"/>
                </a:lnTo>
                <a:lnTo>
                  <a:pt x="1858" y="1172"/>
                </a:lnTo>
                <a:lnTo>
                  <a:pt x="1939" y="1077"/>
                </a:lnTo>
                <a:lnTo>
                  <a:pt x="2014" y="975"/>
                </a:lnTo>
                <a:lnTo>
                  <a:pt x="2083" y="869"/>
                </a:lnTo>
                <a:lnTo>
                  <a:pt x="2142" y="757"/>
                </a:lnTo>
                <a:lnTo>
                  <a:pt x="2195" y="639"/>
                </a:lnTo>
                <a:lnTo>
                  <a:pt x="2238" y="519"/>
                </a:lnTo>
                <a:lnTo>
                  <a:pt x="2272" y="394"/>
                </a:lnTo>
                <a:lnTo>
                  <a:pt x="2296" y="265"/>
                </a:lnTo>
                <a:lnTo>
                  <a:pt x="2312" y="133"/>
                </a:lnTo>
                <a:lnTo>
                  <a:pt x="2318" y="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Freeform 59"/>
          <p:cNvSpPr>
            <a:spLocks/>
          </p:cNvSpPr>
          <p:nvPr/>
        </p:nvSpPr>
        <p:spPr bwMode="auto">
          <a:xfrm>
            <a:off x="1460043" y="2653929"/>
            <a:ext cx="2615" cy="10946"/>
          </a:xfrm>
          <a:custGeom>
            <a:avLst/>
            <a:gdLst>
              <a:gd name="T0" fmla="*/ 0 w 4"/>
              <a:gd name="T1" fmla="*/ 0 h 16"/>
              <a:gd name="T2" fmla="*/ 4 w 4"/>
              <a:gd name="T3" fmla="*/ 14 h 16"/>
              <a:gd name="T4" fmla="*/ 4 w 4"/>
              <a:gd name="T5" fmla="*/ 16 h 16"/>
              <a:gd name="T6" fmla="*/ 0 w 4"/>
              <a:gd name="T7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" h="16">
                <a:moveTo>
                  <a:pt x="0" y="0"/>
                </a:moveTo>
                <a:lnTo>
                  <a:pt x="4" y="14"/>
                </a:lnTo>
                <a:lnTo>
                  <a:pt x="4" y="16"/>
                </a:lnTo>
                <a:lnTo>
                  <a:pt x="0" y="0"/>
                </a:lnTo>
                <a:close/>
              </a:path>
            </a:pathLst>
          </a:custGeom>
          <a:solidFill>
            <a:srgbClr val="EAF0F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Freeform 64"/>
          <p:cNvSpPr>
            <a:spLocks/>
          </p:cNvSpPr>
          <p:nvPr/>
        </p:nvSpPr>
        <p:spPr bwMode="auto">
          <a:xfrm>
            <a:off x="1462658" y="2663507"/>
            <a:ext cx="0" cy="1369"/>
          </a:xfrm>
          <a:custGeom>
            <a:avLst/>
            <a:gdLst>
              <a:gd name="T0" fmla="*/ 0 h 4"/>
              <a:gd name="T1" fmla="*/ 0 h 4"/>
              <a:gd name="T2" fmla="*/ 2 h 4"/>
              <a:gd name="T3" fmla="*/ 4 h 4"/>
              <a:gd name="T4" fmla="*/ 0 h 4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4">
                <a:moveTo>
                  <a:pt x="0" y="0"/>
                </a:move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0"/>
                </a:lnTo>
                <a:close/>
              </a:path>
            </a:pathLst>
          </a:custGeom>
          <a:solidFill>
            <a:srgbClr val="FA65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Freeform 65"/>
          <p:cNvSpPr>
            <a:spLocks/>
          </p:cNvSpPr>
          <p:nvPr/>
        </p:nvSpPr>
        <p:spPr bwMode="auto">
          <a:xfrm>
            <a:off x="1460043" y="2653929"/>
            <a:ext cx="2615" cy="9578"/>
          </a:xfrm>
          <a:custGeom>
            <a:avLst/>
            <a:gdLst>
              <a:gd name="T0" fmla="*/ 0 w 4"/>
              <a:gd name="T1" fmla="*/ 0 h 12"/>
              <a:gd name="T2" fmla="*/ 4 w 4"/>
              <a:gd name="T3" fmla="*/ 12 h 12"/>
              <a:gd name="T4" fmla="*/ 4 w 4"/>
              <a:gd name="T5" fmla="*/ 12 h 12"/>
              <a:gd name="T6" fmla="*/ 0 w 4"/>
              <a:gd name="T7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" h="12">
                <a:moveTo>
                  <a:pt x="0" y="0"/>
                </a:moveTo>
                <a:lnTo>
                  <a:pt x="4" y="12"/>
                </a:lnTo>
                <a:lnTo>
                  <a:pt x="4" y="12"/>
                </a:lnTo>
                <a:lnTo>
                  <a:pt x="0" y="0"/>
                </a:lnTo>
                <a:close/>
              </a:path>
            </a:pathLst>
          </a:custGeom>
          <a:solidFill>
            <a:srgbClr val="FA65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Freeform 66"/>
          <p:cNvSpPr>
            <a:spLocks/>
          </p:cNvSpPr>
          <p:nvPr/>
        </p:nvSpPr>
        <p:spPr bwMode="auto">
          <a:xfrm>
            <a:off x="1462658" y="2664875"/>
            <a:ext cx="1308" cy="5473"/>
          </a:xfrm>
          <a:custGeom>
            <a:avLst/>
            <a:gdLst>
              <a:gd name="T0" fmla="*/ 0 w 2"/>
              <a:gd name="T1" fmla="*/ 0 h 9"/>
              <a:gd name="T2" fmla="*/ 2 w 2"/>
              <a:gd name="T3" fmla="*/ 9 h 9"/>
              <a:gd name="T4" fmla="*/ 0 w 2"/>
              <a:gd name="T5" fmla="*/ 2 h 9"/>
              <a:gd name="T6" fmla="*/ 0 w 2"/>
              <a:gd name="T7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" h="9">
                <a:moveTo>
                  <a:pt x="0" y="0"/>
                </a:moveTo>
                <a:lnTo>
                  <a:pt x="2" y="9"/>
                </a:lnTo>
                <a:lnTo>
                  <a:pt x="0" y="2"/>
                </a:lnTo>
                <a:lnTo>
                  <a:pt x="0" y="0"/>
                </a:lnTo>
                <a:close/>
              </a:path>
            </a:pathLst>
          </a:custGeom>
          <a:solidFill>
            <a:srgbClr val="EAF0F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Freeform 67"/>
          <p:cNvSpPr>
            <a:spLocks/>
          </p:cNvSpPr>
          <p:nvPr/>
        </p:nvSpPr>
        <p:spPr bwMode="auto">
          <a:xfrm>
            <a:off x="1462658" y="2664875"/>
            <a:ext cx="1308" cy="5473"/>
          </a:xfrm>
          <a:custGeom>
            <a:avLst/>
            <a:gdLst>
              <a:gd name="T0" fmla="*/ 0 w 2"/>
              <a:gd name="T1" fmla="*/ 0 h 9"/>
              <a:gd name="T2" fmla="*/ 2 w 2"/>
              <a:gd name="T3" fmla="*/ 9 h 9"/>
              <a:gd name="T4" fmla="*/ 0 w 2"/>
              <a:gd name="T5" fmla="*/ 2 h 9"/>
              <a:gd name="T6" fmla="*/ 0 w 2"/>
              <a:gd name="T7" fmla="*/ 0 h 9"/>
              <a:gd name="T8" fmla="*/ 0 w 2"/>
              <a:gd name="T9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9">
                <a:moveTo>
                  <a:pt x="0" y="0"/>
                </a:moveTo>
                <a:lnTo>
                  <a:pt x="2" y="9"/>
                </a:ln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FA65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Freeform 68"/>
          <p:cNvSpPr>
            <a:spLocks/>
          </p:cNvSpPr>
          <p:nvPr/>
        </p:nvSpPr>
        <p:spPr bwMode="auto">
          <a:xfrm>
            <a:off x="2598775" y="1566164"/>
            <a:ext cx="1126965" cy="1179439"/>
          </a:xfrm>
          <a:custGeom>
            <a:avLst/>
            <a:gdLst>
              <a:gd name="T0" fmla="*/ 0 w 1725"/>
              <a:gd name="T1" fmla="*/ 0 h 1725"/>
              <a:gd name="T2" fmla="*/ 4 w 1725"/>
              <a:gd name="T3" fmla="*/ 0 h 1725"/>
              <a:gd name="T4" fmla="*/ 4 w 1725"/>
              <a:gd name="T5" fmla="*/ 0 h 1725"/>
              <a:gd name="T6" fmla="*/ 15 w 1725"/>
              <a:gd name="T7" fmla="*/ 0 h 1725"/>
              <a:gd name="T8" fmla="*/ 155 w 1725"/>
              <a:gd name="T9" fmla="*/ 7 h 1725"/>
              <a:gd name="T10" fmla="*/ 292 w 1725"/>
              <a:gd name="T11" fmla="*/ 25 h 1725"/>
              <a:gd name="T12" fmla="*/ 427 w 1725"/>
              <a:gd name="T13" fmla="*/ 53 h 1725"/>
              <a:gd name="T14" fmla="*/ 556 w 1725"/>
              <a:gd name="T15" fmla="*/ 91 h 1725"/>
              <a:gd name="T16" fmla="*/ 681 w 1725"/>
              <a:gd name="T17" fmla="*/ 139 h 1725"/>
              <a:gd name="T18" fmla="*/ 801 w 1725"/>
              <a:gd name="T19" fmla="*/ 197 h 1725"/>
              <a:gd name="T20" fmla="*/ 917 w 1725"/>
              <a:gd name="T21" fmla="*/ 263 h 1725"/>
              <a:gd name="T22" fmla="*/ 1025 w 1725"/>
              <a:gd name="T23" fmla="*/ 338 h 1725"/>
              <a:gd name="T24" fmla="*/ 1128 w 1725"/>
              <a:gd name="T25" fmla="*/ 419 h 1725"/>
              <a:gd name="T26" fmla="*/ 1224 w 1725"/>
              <a:gd name="T27" fmla="*/ 510 h 1725"/>
              <a:gd name="T28" fmla="*/ 1313 w 1725"/>
              <a:gd name="T29" fmla="*/ 608 h 1725"/>
              <a:gd name="T30" fmla="*/ 1394 w 1725"/>
              <a:gd name="T31" fmla="*/ 711 h 1725"/>
              <a:gd name="T32" fmla="*/ 1469 w 1725"/>
              <a:gd name="T33" fmla="*/ 821 h 1725"/>
              <a:gd name="T34" fmla="*/ 1535 w 1725"/>
              <a:gd name="T35" fmla="*/ 936 h 1725"/>
              <a:gd name="T36" fmla="*/ 1590 w 1725"/>
              <a:gd name="T37" fmla="*/ 1057 h 1725"/>
              <a:gd name="T38" fmla="*/ 1638 w 1725"/>
              <a:gd name="T39" fmla="*/ 1183 h 1725"/>
              <a:gd name="T40" fmla="*/ 1675 w 1725"/>
              <a:gd name="T41" fmla="*/ 1313 h 1725"/>
              <a:gd name="T42" fmla="*/ 1702 w 1725"/>
              <a:gd name="T43" fmla="*/ 1446 h 1725"/>
              <a:gd name="T44" fmla="*/ 1719 w 1725"/>
              <a:gd name="T45" fmla="*/ 1585 h 1725"/>
              <a:gd name="T46" fmla="*/ 1725 w 1725"/>
              <a:gd name="T47" fmla="*/ 1725 h 1725"/>
              <a:gd name="T48" fmla="*/ 1236 w 1725"/>
              <a:gd name="T49" fmla="*/ 1722 h 1725"/>
              <a:gd name="T50" fmla="*/ 1231 w 1725"/>
              <a:gd name="T51" fmla="*/ 1603 h 1725"/>
              <a:gd name="T52" fmla="*/ 1213 w 1725"/>
              <a:gd name="T53" fmla="*/ 1487 h 1725"/>
              <a:gd name="T54" fmla="*/ 1187 w 1725"/>
              <a:gd name="T55" fmla="*/ 1375 h 1725"/>
              <a:gd name="T56" fmla="*/ 1149 w 1725"/>
              <a:gd name="T57" fmla="*/ 1267 h 1725"/>
              <a:gd name="T58" fmla="*/ 1103 w 1725"/>
              <a:gd name="T59" fmla="*/ 1164 h 1725"/>
              <a:gd name="T60" fmla="*/ 1048 w 1725"/>
              <a:gd name="T61" fmla="*/ 1066 h 1725"/>
              <a:gd name="T62" fmla="*/ 984 w 1725"/>
              <a:gd name="T63" fmla="*/ 975 h 1725"/>
              <a:gd name="T64" fmla="*/ 911 w 1725"/>
              <a:gd name="T65" fmla="*/ 890 h 1725"/>
              <a:gd name="T66" fmla="*/ 833 w 1725"/>
              <a:gd name="T67" fmla="*/ 810 h 1725"/>
              <a:gd name="T68" fmla="*/ 748 w 1725"/>
              <a:gd name="T69" fmla="*/ 739 h 1725"/>
              <a:gd name="T70" fmla="*/ 656 w 1725"/>
              <a:gd name="T71" fmla="*/ 675 h 1725"/>
              <a:gd name="T72" fmla="*/ 558 w 1725"/>
              <a:gd name="T73" fmla="*/ 620 h 1725"/>
              <a:gd name="T74" fmla="*/ 455 w 1725"/>
              <a:gd name="T75" fmla="*/ 574 h 1725"/>
              <a:gd name="T76" fmla="*/ 347 w 1725"/>
              <a:gd name="T77" fmla="*/ 537 h 1725"/>
              <a:gd name="T78" fmla="*/ 235 w 1725"/>
              <a:gd name="T79" fmla="*/ 510 h 1725"/>
              <a:gd name="T80" fmla="*/ 119 w 1725"/>
              <a:gd name="T81" fmla="*/ 494 h 1725"/>
              <a:gd name="T82" fmla="*/ 0 w 1725"/>
              <a:gd name="T83" fmla="*/ 487 h 1725"/>
              <a:gd name="T84" fmla="*/ 0 w 1725"/>
              <a:gd name="T85" fmla="*/ 0 h 17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725" h="1725">
                <a:moveTo>
                  <a:pt x="0" y="0"/>
                </a:moveTo>
                <a:lnTo>
                  <a:pt x="4" y="0"/>
                </a:lnTo>
                <a:lnTo>
                  <a:pt x="4" y="0"/>
                </a:lnTo>
                <a:lnTo>
                  <a:pt x="15" y="0"/>
                </a:lnTo>
                <a:lnTo>
                  <a:pt x="155" y="7"/>
                </a:lnTo>
                <a:lnTo>
                  <a:pt x="292" y="25"/>
                </a:lnTo>
                <a:lnTo>
                  <a:pt x="427" y="53"/>
                </a:lnTo>
                <a:lnTo>
                  <a:pt x="556" y="91"/>
                </a:lnTo>
                <a:lnTo>
                  <a:pt x="681" y="139"/>
                </a:lnTo>
                <a:lnTo>
                  <a:pt x="801" y="197"/>
                </a:lnTo>
                <a:lnTo>
                  <a:pt x="917" y="263"/>
                </a:lnTo>
                <a:lnTo>
                  <a:pt x="1025" y="338"/>
                </a:lnTo>
                <a:lnTo>
                  <a:pt x="1128" y="419"/>
                </a:lnTo>
                <a:lnTo>
                  <a:pt x="1224" y="510"/>
                </a:lnTo>
                <a:lnTo>
                  <a:pt x="1313" y="608"/>
                </a:lnTo>
                <a:lnTo>
                  <a:pt x="1394" y="711"/>
                </a:lnTo>
                <a:lnTo>
                  <a:pt x="1469" y="821"/>
                </a:lnTo>
                <a:lnTo>
                  <a:pt x="1535" y="936"/>
                </a:lnTo>
                <a:lnTo>
                  <a:pt x="1590" y="1057"/>
                </a:lnTo>
                <a:lnTo>
                  <a:pt x="1638" y="1183"/>
                </a:lnTo>
                <a:lnTo>
                  <a:pt x="1675" y="1313"/>
                </a:lnTo>
                <a:lnTo>
                  <a:pt x="1702" y="1446"/>
                </a:lnTo>
                <a:lnTo>
                  <a:pt x="1719" y="1585"/>
                </a:lnTo>
                <a:lnTo>
                  <a:pt x="1725" y="1725"/>
                </a:lnTo>
                <a:lnTo>
                  <a:pt x="1236" y="1722"/>
                </a:lnTo>
                <a:lnTo>
                  <a:pt x="1231" y="1603"/>
                </a:lnTo>
                <a:lnTo>
                  <a:pt x="1213" y="1487"/>
                </a:lnTo>
                <a:lnTo>
                  <a:pt x="1187" y="1375"/>
                </a:lnTo>
                <a:lnTo>
                  <a:pt x="1149" y="1267"/>
                </a:lnTo>
                <a:lnTo>
                  <a:pt x="1103" y="1164"/>
                </a:lnTo>
                <a:lnTo>
                  <a:pt x="1048" y="1066"/>
                </a:lnTo>
                <a:lnTo>
                  <a:pt x="984" y="975"/>
                </a:lnTo>
                <a:lnTo>
                  <a:pt x="911" y="890"/>
                </a:lnTo>
                <a:lnTo>
                  <a:pt x="833" y="810"/>
                </a:lnTo>
                <a:lnTo>
                  <a:pt x="748" y="739"/>
                </a:lnTo>
                <a:lnTo>
                  <a:pt x="656" y="675"/>
                </a:lnTo>
                <a:lnTo>
                  <a:pt x="558" y="620"/>
                </a:lnTo>
                <a:lnTo>
                  <a:pt x="455" y="574"/>
                </a:lnTo>
                <a:lnTo>
                  <a:pt x="347" y="537"/>
                </a:lnTo>
                <a:lnTo>
                  <a:pt x="235" y="510"/>
                </a:lnTo>
                <a:lnTo>
                  <a:pt x="119" y="494"/>
                </a:lnTo>
                <a:lnTo>
                  <a:pt x="0" y="48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Freeform 69"/>
          <p:cNvSpPr>
            <a:spLocks/>
          </p:cNvSpPr>
          <p:nvPr/>
        </p:nvSpPr>
        <p:spPr bwMode="auto">
          <a:xfrm>
            <a:off x="2598775" y="742471"/>
            <a:ext cx="1912703" cy="2412240"/>
          </a:xfrm>
          <a:custGeom>
            <a:avLst/>
            <a:gdLst>
              <a:gd name="T0" fmla="*/ 4 w 2927"/>
              <a:gd name="T1" fmla="*/ 2 h 3525"/>
              <a:gd name="T2" fmla="*/ 219 w 2927"/>
              <a:gd name="T3" fmla="*/ 9 h 3525"/>
              <a:gd name="T4" fmla="*/ 576 w 2927"/>
              <a:gd name="T5" fmla="*/ 59 h 3525"/>
              <a:gd name="T6" fmla="*/ 917 w 2927"/>
              <a:gd name="T7" fmla="*/ 148 h 3525"/>
              <a:gd name="T8" fmla="*/ 1240 w 2927"/>
              <a:gd name="T9" fmla="*/ 277 h 3525"/>
              <a:gd name="T10" fmla="*/ 1544 w 2927"/>
              <a:gd name="T11" fmla="*/ 443 h 3525"/>
              <a:gd name="T12" fmla="*/ 1824 w 2927"/>
              <a:gd name="T13" fmla="*/ 640 h 3525"/>
              <a:gd name="T14" fmla="*/ 2080 w 2927"/>
              <a:gd name="T15" fmla="*/ 871 h 3525"/>
              <a:gd name="T16" fmla="*/ 2307 w 2927"/>
              <a:gd name="T17" fmla="*/ 1128 h 3525"/>
              <a:gd name="T18" fmla="*/ 2502 w 2927"/>
              <a:gd name="T19" fmla="*/ 1411 h 3525"/>
              <a:gd name="T20" fmla="*/ 2664 w 2927"/>
              <a:gd name="T21" fmla="*/ 1716 h 3525"/>
              <a:gd name="T22" fmla="*/ 2788 w 2927"/>
              <a:gd name="T23" fmla="*/ 2042 h 3525"/>
              <a:gd name="T24" fmla="*/ 2875 w 2927"/>
              <a:gd name="T25" fmla="*/ 2386 h 3525"/>
              <a:gd name="T26" fmla="*/ 2920 w 2927"/>
              <a:gd name="T27" fmla="*/ 2743 h 3525"/>
              <a:gd name="T28" fmla="*/ 2925 w 2927"/>
              <a:gd name="T29" fmla="*/ 2928 h 3525"/>
              <a:gd name="T30" fmla="*/ 2925 w 2927"/>
              <a:gd name="T31" fmla="*/ 2965 h 3525"/>
              <a:gd name="T32" fmla="*/ 2895 w 2927"/>
              <a:gd name="T33" fmla="*/ 3115 h 3525"/>
              <a:gd name="T34" fmla="*/ 2831 w 2927"/>
              <a:gd name="T35" fmla="*/ 3250 h 3525"/>
              <a:gd name="T36" fmla="*/ 2737 w 2927"/>
              <a:gd name="T37" fmla="*/ 3362 h 3525"/>
              <a:gd name="T38" fmla="*/ 2618 w 2927"/>
              <a:gd name="T39" fmla="*/ 3449 h 3525"/>
              <a:gd name="T40" fmla="*/ 2479 w 2927"/>
              <a:gd name="T41" fmla="*/ 3506 h 3525"/>
              <a:gd name="T42" fmla="*/ 2325 w 2927"/>
              <a:gd name="T43" fmla="*/ 3525 h 3525"/>
              <a:gd name="T44" fmla="*/ 2169 w 2927"/>
              <a:gd name="T45" fmla="*/ 3504 h 3525"/>
              <a:gd name="T46" fmla="*/ 2027 w 2927"/>
              <a:gd name="T47" fmla="*/ 3445 h 3525"/>
              <a:gd name="T48" fmla="*/ 1906 w 2927"/>
              <a:gd name="T49" fmla="*/ 3355 h 3525"/>
              <a:gd name="T50" fmla="*/ 1815 w 2927"/>
              <a:gd name="T51" fmla="*/ 3243 h 3525"/>
              <a:gd name="T52" fmla="*/ 1757 w 2927"/>
              <a:gd name="T53" fmla="*/ 3115 h 3525"/>
              <a:gd name="T54" fmla="*/ 1728 w 2927"/>
              <a:gd name="T55" fmla="*/ 2989 h 3525"/>
              <a:gd name="T56" fmla="*/ 1725 w 2927"/>
              <a:gd name="T57" fmla="*/ 2928 h 3525"/>
              <a:gd name="T58" fmla="*/ 1719 w 2927"/>
              <a:gd name="T59" fmla="*/ 2788 h 3525"/>
              <a:gd name="T60" fmla="*/ 1675 w 2927"/>
              <a:gd name="T61" fmla="*/ 2516 h 3525"/>
              <a:gd name="T62" fmla="*/ 1590 w 2927"/>
              <a:gd name="T63" fmla="*/ 2260 h 3525"/>
              <a:gd name="T64" fmla="*/ 1469 w 2927"/>
              <a:gd name="T65" fmla="*/ 2024 h 3525"/>
              <a:gd name="T66" fmla="*/ 1313 w 2927"/>
              <a:gd name="T67" fmla="*/ 1811 h 3525"/>
              <a:gd name="T68" fmla="*/ 1128 w 2927"/>
              <a:gd name="T69" fmla="*/ 1622 h 3525"/>
              <a:gd name="T70" fmla="*/ 917 w 2927"/>
              <a:gd name="T71" fmla="*/ 1466 h 3525"/>
              <a:gd name="T72" fmla="*/ 681 w 2927"/>
              <a:gd name="T73" fmla="*/ 1342 h 3525"/>
              <a:gd name="T74" fmla="*/ 427 w 2927"/>
              <a:gd name="T75" fmla="*/ 1256 h 3525"/>
              <a:gd name="T76" fmla="*/ 155 w 2927"/>
              <a:gd name="T77" fmla="*/ 1210 h 3525"/>
              <a:gd name="T78" fmla="*/ 4 w 2927"/>
              <a:gd name="T79" fmla="*/ 1203 h 3525"/>
              <a:gd name="T80" fmla="*/ 0 w 2927"/>
              <a:gd name="T81" fmla="*/ 1203 h 3525"/>
              <a:gd name="T82" fmla="*/ 70 w 2927"/>
              <a:gd name="T83" fmla="*/ 1036 h 3525"/>
              <a:gd name="T84" fmla="*/ 0 w 2927"/>
              <a:gd name="T85" fmla="*/ 2 h 3525"/>
              <a:gd name="T86" fmla="*/ 0 w 2927"/>
              <a:gd name="T87" fmla="*/ 0 h 35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27" h="3525">
                <a:moveTo>
                  <a:pt x="0" y="0"/>
                </a:moveTo>
                <a:lnTo>
                  <a:pt x="4" y="2"/>
                </a:lnTo>
                <a:lnTo>
                  <a:pt x="36" y="2"/>
                </a:lnTo>
                <a:lnTo>
                  <a:pt x="219" y="9"/>
                </a:lnTo>
                <a:lnTo>
                  <a:pt x="398" y="29"/>
                </a:lnTo>
                <a:lnTo>
                  <a:pt x="576" y="59"/>
                </a:lnTo>
                <a:lnTo>
                  <a:pt x="748" y="98"/>
                </a:lnTo>
                <a:lnTo>
                  <a:pt x="917" y="148"/>
                </a:lnTo>
                <a:lnTo>
                  <a:pt x="1082" y="208"/>
                </a:lnTo>
                <a:lnTo>
                  <a:pt x="1240" y="277"/>
                </a:lnTo>
                <a:lnTo>
                  <a:pt x="1396" y="356"/>
                </a:lnTo>
                <a:lnTo>
                  <a:pt x="1544" y="443"/>
                </a:lnTo>
                <a:lnTo>
                  <a:pt x="1687" y="537"/>
                </a:lnTo>
                <a:lnTo>
                  <a:pt x="1824" y="640"/>
                </a:lnTo>
                <a:lnTo>
                  <a:pt x="1956" y="752"/>
                </a:lnTo>
                <a:lnTo>
                  <a:pt x="2080" y="871"/>
                </a:lnTo>
                <a:lnTo>
                  <a:pt x="2197" y="995"/>
                </a:lnTo>
                <a:lnTo>
                  <a:pt x="2307" y="1128"/>
                </a:lnTo>
                <a:lnTo>
                  <a:pt x="2408" y="1265"/>
                </a:lnTo>
                <a:lnTo>
                  <a:pt x="2502" y="1411"/>
                </a:lnTo>
                <a:lnTo>
                  <a:pt x="2588" y="1560"/>
                </a:lnTo>
                <a:lnTo>
                  <a:pt x="2664" y="1716"/>
                </a:lnTo>
                <a:lnTo>
                  <a:pt x="2732" y="1876"/>
                </a:lnTo>
                <a:lnTo>
                  <a:pt x="2788" y="2042"/>
                </a:lnTo>
                <a:lnTo>
                  <a:pt x="2836" y="2212"/>
                </a:lnTo>
                <a:lnTo>
                  <a:pt x="2875" y="2386"/>
                </a:lnTo>
                <a:lnTo>
                  <a:pt x="2902" y="2562"/>
                </a:lnTo>
                <a:lnTo>
                  <a:pt x="2920" y="2743"/>
                </a:lnTo>
                <a:lnTo>
                  <a:pt x="2925" y="2926"/>
                </a:lnTo>
                <a:lnTo>
                  <a:pt x="2925" y="2928"/>
                </a:lnTo>
                <a:lnTo>
                  <a:pt x="2927" y="2928"/>
                </a:lnTo>
                <a:lnTo>
                  <a:pt x="2925" y="2965"/>
                </a:lnTo>
                <a:lnTo>
                  <a:pt x="2914" y="3042"/>
                </a:lnTo>
                <a:lnTo>
                  <a:pt x="2895" y="3115"/>
                </a:lnTo>
                <a:lnTo>
                  <a:pt x="2867" y="3184"/>
                </a:lnTo>
                <a:lnTo>
                  <a:pt x="2831" y="3250"/>
                </a:lnTo>
                <a:lnTo>
                  <a:pt x="2787" y="3308"/>
                </a:lnTo>
                <a:lnTo>
                  <a:pt x="2737" y="3362"/>
                </a:lnTo>
                <a:lnTo>
                  <a:pt x="2680" y="3410"/>
                </a:lnTo>
                <a:lnTo>
                  <a:pt x="2618" y="3449"/>
                </a:lnTo>
                <a:lnTo>
                  <a:pt x="2550" y="3481"/>
                </a:lnTo>
                <a:lnTo>
                  <a:pt x="2479" y="3506"/>
                </a:lnTo>
                <a:lnTo>
                  <a:pt x="2403" y="3520"/>
                </a:lnTo>
                <a:lnTo>
                  <a:pt x="2325" y="3525"/>
                </a:lnTo>
                <a:lnTo>
                  <a:pt x="2245" y="3520"/>
                </a:lnTo>
                <a:lnTo>
                  <a:pt x="2169" y="3504"/>
                </a:lnTo>
                <a:lnTo>
                  <a:pt x="2096" y="3479"/>
                </a:lnTo>
                <a:lnTo>
                  <a:pt x="2027" y="3445"/>
                </a:lnTo>
                <a:lnTo>
                  <a:pt x="1964" y="3404"/>
                </a:lnTo>
                <a:lnTo>
                  <a:pt x="1906" y="3355"/>
                </a:lnTo>
                <a:lnTo>
                  <a:pt x="1856" y="3298"/>
                </a:lnTo>
                <a:lnTo>
                  <a:pt x="1815" y="3243"/>
                </a:lnTo>
                <a:lnTo>
                  <a:pt x="1782" y="3180"/>
                </a:lnTo>
                <a:lnTo>
                  <a:pt x="1757" y="3115"/>
                </a:lnTo>
                <a:lnTo>
                  <a:pt x="1737" y="3047"/>
                </a:lnTo>
                <a:lnTo>
                  <a:pt x="1728" y="2989"/>
                </a:lnTo>
                <a:lnTo>
                  <a:pt x="1725" y="2930"/>
                </a:lnTo>
                <a:lnTo>
                  <a:pt x="1725" y="2928"/>
                </a:lnTo>
                <a:lnTo>
                  <a:pt x="1725" y="2928"/>
                </a:lnTo>
                <a:lnTo>
                  <a:pt x="1719" y="2788"/>
                </a:lnTo>
                <a:lnTo>
                  <a:pt x="1702" y="2649"/>
                </a:lnTo>
                <a:lnTo>
                  <a:pt x="1675" y="2516"/>
                </a:lnTo>
                <a:lnTo>
                  <a:pt x="1638" y="2386"/>
                </a:lnTo>
                <a:lnTo>
                  <a:pt x="1590" y="2260"/>
                </a:lnTo>
                <a:lnTo>
                  <a:pt x="1535" y="2139"/>
                </a:lnTo>
                <a:lnTo>
                  <a:pt x="1469" y="2024"/>
                </a:lnTo>
                <a:lnTo>
                  <a:pt x="1394" y="1914"/>
                </a:lnTo>
                <a:lnTo>
                  <a:pt x="1313" y="1811"/>
                </a:lnTo>
                <a:lnTo>
                  <a:pt x="1224" y="1713"/>
                </a:lnTo>
                <a:lnTo>
                  <a:pt x="1128" y="1622"/>
                </a:lnTo>
                <a:lnTo>
                  <a:pt x="1025" y="1541"/>
                </a:lnTo>
                <a:lnTo>
                  <a:pt x="917" y="1466"/>
                </a:lnTo>
                <a:lnTo>
                  <a:pt x="801" y="1400"/>
                </a:lnTo>
                <a:lnTo>
                  <a:pt x="681" y="1342"/>
                </a:lnTo>
                <a:lnTo>
                  <a:pt x="556" y="1294"/>
                </a:lnTo>
                <a:lnTo>
                  <a:pt x="427" y="1256"/>
                </a:lnTo>
                <a:lnTo>
                  <a:pt x="292" y="1228"/>
                </a:lnTo>
                <a:lnTo>
                  <a:pt x="155" y="1210"/>
                </a:lnTo>
                <a:lnTo>
                  <a:pt x="15" y="1203"/>
                </a:lnTo>
                <a:lnTo>
                  <a:pt x="4" y="1203"/>
                </a:lnTo>
                <a:lnTo>
                  <a:pt x="4" y="1203"/>
                </a:lnTo>
                <a:lnTo>
                  <a:pt x="0" y="1203"/>
                </a:lnTo>
                <a:lnTo>
                  <a:pt x="0" y="1203"/>
                </a:lnTo>
                <a:lnTo>
                  <a:pt x="70" y="1036"/>
                </a:lnTo>
                <a:lnTo>
                  <a:pt x="244" y="622"/>
                </a:lnTo>
                <a:lnTo>
                  <a:pt x="0" y="2"/>
                </a:lnTo>
                <a:lnTo>
                  <a:pt x="0" y="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Freeform 70"/>
          <p:cNvSpPr>
            <a:spLocks/>
          </p:cNvSpPr>
          <p:nvPr/>
        </p:nvSpPr>
        <p:spPr bwMode="auto">
          <a:xfrm>
            <a:off x="686072" y="742471"/>
            <a:ext cx="2304918" cy="2001763"/>
          </a:xfrm>
          <a:custGeom>
            <a:avLst/>
            <a:gdLst>
              <a:gd name="T0" fmla="*/ 2930 w 3527"/>
              <a:gd name="T1" fmla="*/ 7 h 2926"/>
              <a:gd name="T2" fmla="*/ 3113 w 3527"/>
              <a:gd name="T3" fmla="*/ 30 h 2926"/>
              <a:gd name="T4" fmla="*/ 3363 w 3527"/>
              <a:gd name="T5" fmla="*/ 189 h 2926"/>
              <a:gd name="T6" fmla="*/ 3507 w 3527"/>
              <a:gd name="T7" fmla="*/ 448 h 2926"/>
              <a:gd name="T8" fmla="*/ 3505 w 3527"/>
              <a:gd name="T9" fmla="*/ 759 h 2926"/>
              <a:gd name="T10" fmla="*/ 3356 w 3527"/>
              <a:gd name="T11" fmla="*/ 1022 h 2926"/>
              <a:gd name="T12" fmla="*/ 3124 w 3527"/>
              <a:gd name="T13" fmla="*/ 1169 h 2926"/>
              <a:gd name="T14" fmla="*/ 2926 w 3527"/>
              <a:gd name="T15" fmla="*/ 1203 h 2926"/>
              <a:gd name="T16" fmla="*/ 2514 w 3527"/>
              <a:gd name="T17" fmla="*/ 1253 h 2926"/>
              <a:gd name="T18" fmla="*/ 2023 w 3527"/>
              <a:gd name="T19" fmla="*/ 1457 h 2926"/>
              <a:gd name="T20" fmla="*/ 1623 w 3527"/>
              <a:gd name="T21" fmla="*/ 1796 h 2926"/>
              <a:gd name="T22" fmla="*/ 1342 w 3527"/>
              <a:gd name="T23" fmla="*/ 2242 h 2926"/>
              <a:gd name="T24" fmla="*/ 1209 w 3527"/>
              <a:gd name="T25" fmla="*/ 2766 h 2926"/>
              <a:gd name="T26" fmla="*/ 1199 w 3527"/>
              <a:gd name="T27" fmla="*/ 2877 h 2926"/>
              <a:gd name="T28" fmla="*/ 1190 w 3527"/>
              <a:gd name="T29" fmla="*/ 2818 h 2926"/>
              <a:gd name="T30" fmla="*/ 1177 w 3527"/>
              <a:gd name="T31" fmla="*/ 2768 h 2926"/>
              <a:gd name="T32" fmla="*/ 1160 w 3527"/>
              <a:gd name="T33" fmla="*/ 2715 h 2926"/>
              <a:gd name="T34" fmla="*/ 1135 w 3527"/>
              <a:gd name="T35" fmla="*/ 2663 h 2926"/>
              <a:gd name="T36" fmla="*/ 1108 w 3527"/>
              <a:gd name="T37" fmla="*/ 2614 h 2926"/>
              <a:gd name="T38" fmla="*/ 1074 w 3527"/>
              <a:gd name="T39" fmla="*/ 2567 h 2926"/>
              <a:gd name="T40" fmla="*/ 1051 w 3527"/>
              <a:gd name="T41" fmla="*/ 2539 h 2926"/>
              <a:gd name="T42" fmla="*/ 1010 w 3527"/>
              <a:gd name="T43" fmla="*/ 2498 h 2926"/>
              <a:gd name="T44" fmla="*/ 968 w 3527"/>
              <a:gd name="T45" fmla="*/ 2461 h 2926"/>
              <a:gd name="T46" fmla="*/ 920 w 3527"/>
              <a:gd name="T47" fmla="*/ 2429 h 2926"/>
              <a:gd name="T48" fmla="*/ 870 w 3527"/>
              <a:gd name="T49" fmla="*/ 2400 h 2926"/>
              <a:gd name="T50" fmla="*/ 817 w 3527"/>
              <a:gd name="T51" fmla="*/ 2377 h 2926"/>
              <a:gd name="T52" fmla="*/ 762 w 3527"/>
              <a:gd name="T53" fmla="*/ 2358 h 2926"/>
              <a:gd name="T54" fmla="*/ 703 w 3527"/>
              <a:gd name="T55" fmla="*/ 2345 h 2926"/>
              <a:gd name="T56" fmla="*/ 641 w 3527"/>
              <a:gd name="T57" fmla="*/ 2338 h 2926"/>
              <a:gd name="T58" fmla="*/ 563 w 3527"/>
              <a:gd name="T59" fmla="*/ 2338 h 2926"/>
              <a:gd name="T60" fmla="*/ 494 w 3527"/>
              <a:gd name="T61" fmla="*/ 2345 h 2926"/>
              <a:gd name="T62" fmla="*/ 439 w 3527"/>
              <a:gd name="T63" fmla="*/ 2360 h 2926"/>
              <a:gd name="T64" fmla="*/ 380 w 3527"/>
              <a:gd name="T65" fmla="*/ 2379 h 2926"/>
              <a:gd name="T66" fmla="*/ 327 w 3527"/>
              <a:gd name="T67" fmla="*/ 2402 h 2926"/>
              <a:gd name="T68" fmla="*/ 277 w 3527"/>
              <a:gd name="T69" fmla="*/ 2432 h 2926"/>
              <a:gd name="T70" fmla="*/ 229 w 3527"/>
              <a:gd name="T71" fmla="*/ 2466 h 2926"/>
              <a:gd name="T72" fmla="*/ 185 w 3527"/>
              <a:gd name="T73" fmla="*/ 2503 h 2926"/>
              <a:gd name="T74" fmla="*/ 146 w 3527"/>
              <a:gd name="T75" fmla="*/ 2546 h 2926"/>
              <a:gd name="T76" fmla="*/ 110 w 3527"/>
              <a:gd name="T77" fmla="*/ 2591 h 2926"/>
              <a:gd name="T78" fmla="*/ 78 w 3527"/>
              <a:gd name="T79" fmla="*/ 2640 h 2926"/>
              <a:gd name="T80" fmla="*/ 53 w 3527"/>
              <a:gd name="T81" fmla="*/ 2692 h 2926"/>
              <a:gd name="T82" fmla="*/ 32 w 3527"/>
              <a:gd name="T83" fmla="*/ 2745 h 2926"/>
              <a:gd name="T84" fmla="*/ 16 w 3527"/>
              <a:gd name="T85" fmla="*/ 2802 h 2926"/>
              <a:gd name="T86" fmla="*/ 5 w 3527"/>
              <a:gd name="T87" fmla="*/ 2861 h 2926"/>
              <a:gd name="T88" fmla="*/ 0 w 3527"/>
              <a:gd name="T89" fmla="*/ 2921 h 2926"/>
              <a:gd name="T90" fmla="*/ 21 w 3527"/>
              <a:gd name="T91" fmla="*/ 2573 h 2926"/>
              <a:gd name="T92" fmla="*/ 183 w 3527"/>
              <a:gd name="T93" fmla="*/ 1907 h 2926"/>
              <a:gd name="T94" fmla="*/ 488 w 3527"/>
              <a:gd name="T95" fmla="*/ 1310 h 2926"/>
              <a:gd name="T96" fmla="*/ 916 w 3527"/>
              <a:gd name="T97" fmla="*/ 800 h 2926"/>
              <a:gd name="T98" fmla="*/ 1449 w 3527"/>
              <a:gd name="T99" fmla="*/ 402 h 2926"/>
              <a:gd name="T100" fmla="*/ 2065 w 3527"/>
              <a:gd name="T101" fmla="*/ 130 h 2926"/>
              <a:gd name="T102" fmla="*/ 2747 w 3527"/>
              <a:gd name="T103" fmla="*/ 7 h 29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3527" h="2926">
                <a:moveTo>
                  <a:pt x="2925" y="0"/>
                </a:moveTo>
                <a:lnTo>
                  <a:pt x="2926" y="2"/>
                </a:lnTo>
                <a:lnTo>
                  <a:pt x="2926" y="2"/>
                </a:lnTo>
                <a:lnTo>
                  <a:pt x="2930" y="7"/>
                </a:lnTo>
                <a:lnTo>
                  <a:pt x="2930" y="2"/>
                </a:lnTo>
                <a:lnTo>
                  <a:pt x="2962" y="2"/>
                </a:lnTo>
                <a:lnTo>
                  <a:pt x="3038" y="11"/>
                </a:lnTo>
                <a:lnTo>
                  <a:pt x="3113" y="30"/>
                </a:lnTo>
                <a:lnTo>
                  <a:pt x="3182" y="59"/>
                </a:lnTo>
                <a:lnTo>
                  <a:pt x="3248" y="94"/>
                </a:lnTo>
                <a:lnTo>
                  <a:pt x="3308" y="139"/>
                </a:lnTo>
                <a:lnTo>
                  <a:pt x="3363" y="189"/>
                </a:lnTo>
                <a:lnTo>
                  <a:pt x="3409" y="245"/>
                </a:lnTo>
                <a:lnTo>
                  <a:pt x="3450" y="308"/>
                </a:lnTo>
                <a:lnTo>
                  <a:pt x="3482" y="375"/>
                </a:lnTo>
                <a:lnTo>
                  <a:pt x="3507" y="448"/>
                </a:lnTo>
                <a:lnTo>
                  <a:pt x="3521" y="523"/>
                </a:lnTo>
                <a:lnTo>
                  <a:pt x="3527" y="603"/>
                </a:lnTo>
                <a:lnTo>
                  <a:pt x="3521" y="682"/>
                </a:lnTo>
                <a:lnTo>
                  <a:pt x="3505" y="759"/>
                </a:lnTo>
                <a:lnTo>
                  <a:pt x="3480" y="832"/>
                </a:lnTo>
                <a:lnTo>
                  <a:pt x="3447" y="901"/>
                </a:lnTo>
                <a:lnTo>
                  <a:pt x="3406" y="963"/>
                </a:lnTo>
                <a:lnTo>
                  <a:pt x="3356" y="1022"/>
                </a:lnTo>
                <a:lnTo>
                  <a:pt x="3299" y="1072"/>
                </a:lnTo>
                <a:lnTo>
                  <a:pt x="3246" y="1111"/>
                </a:lnTo>
                <a:lnTo>
                  <a:pt x="3186" y="1144"/>
                </a:lnTo>
                <a:lnTo>
                  <a:pt x="3124" y="1169"/>
                </a:lnTo>
                <a:lnTo>
                  <a:pt x="3058" y="1189"/>
                </a:lnTo>
                <a:lnTo>
                  <a:pt x="2930" y="1201"/>
                </a:lnTo>
                <a:lnTo>
                  <a:pt x="2930" y="1198"/>
                </a:lnTo>
                <a:lnTo>
                  <a:pt x="2926" y="1203"/>
                </a:lnTo>
                <a:lnTo>
                  <a:pt x="2926" y="1203"/>
                </a:lnTo>
                <a:lnTo>
                  <a:pt x="2786" y="1208"/>
                </a:lnTo>
                <a:lnTo>
                  <a:pt x="2648" y="1224"/>
                </a:lnTo>
                <a:lnTo>
                  <a:pt x="2514" y="1253"/>
                </a:lnTo>
                <a:lnTo>
                  <a:pt x="2385" y="1290"/>
                </a:lnTo>
                <a:lnTo>
                  <a:pt x="2259" y="1336"/>
                </a:lnTo>
                <a:lnTo>
                  <a:pt x="2138" y="1393"/>
                </a:lnTo>
                <a:lnTo>
                  <a:pt x="2023" y="1457"/>
                </a:lnTo>
                <a:lnTo>
                  <a:pt x="1914" y="1530"/>
                </a:lnTo>
                <a:lnTo>
                  <a:pt x="1809" y="1612"/>
                </a:lnTo>
                <a:lnTo>
                  <a:pt x="1714" y="1700"/>
                </a:lnTo>
                <a:lnTo>
                  <a:pt x="1623" y="1796"/>
                </a:lnTo>
                <a:lnTo>
                  <a:pt x="1541" y="1899"/>
                </a:lnTo>
                <a:lnTo>
                  <a:pt x="1467" y="2008"/>
                </a:lnTo>
                <a:lnTo>
                  <a:pt x="1399" y="2123"/>
                </a:lnTo>
                <a:lnTo>
                  <a:pt x="1342" y="2242"/>
                </a:lnTo>
                <a:lnTo>
                  <a:pt x="1295" y="2367"/>
                </a:lnTo>
                <a:lnTo>
                  <a:pt x="1255" y="2496"/>
                </a:lnTo>
                <a:lnTo>
                  <a:pt x="1227" y="2630"/>
                </a:lnTo>
                <a:lnTo>
                  <a:pt x="1209" y="2766"/>
                </a:lnTo>
                <a:lnTo>
                  <a:pt x="1200" y="2907"/>
                </a:lnTo>
                <a:lnTo>
                  <a:pt x="1200" y="2907"/>
                </a:lnTo>
                <a:lnTo>
                  <a:pt x="1199" y="2880"/>
                </a:lnTo>
                <a:lnTo>
                  <a:pt x="1199" y="2877"/>
                </a:lnTo>
                <a:lnTo>
                  <a:pt x="1195" y="2852"/>
                </a:lnTo>
                <a:lnTo>
                  <a:pt x="1195" y="2846"/>
                </a:lnTo>
                <a:lnTo>
                  <a:pt x="1192" y="2823"/>
                </a:lnTo>
                <a:lnTo>
                  <a:pt x="1190" y="2818"/>
                </a:lnTo>
                <a:lnTo>
                  <a:pt x="1188" y="2809"/>
                </a:lnTo>
                <a:lnTo>
                  <a:pt x="1184" y="2795"/>
                </a:lnTo>
                <a:lnTo>
                  <a:pt x="1183" y="2790"/>
                </a:lnTo>
                <a:lnTo>
                  <a:pt x="1177" y="2768"/>
                </a:lnTo>
                <a:lnTo>
                  <a:pt x="1176" y="2761"/>
                </a:lnTo>
                <a:lnTo>
                  <a:pt x="1168" y="2740"/>
                </a:lnTo>
                <a:lnTo>
                  <a:pt x="1167" y="2734"/>
                </a:lnTo>
                <a:lnTo>
                  <a:pt x="1160" y="2715"/>
                </a:lnTo>
                <a:lnTo>
                  <a:pt x="1156" y="2706"/>
                </a:lnTo>
                <a:lnTo>
                  <a:pt x="1147" y="2688"/>
                </a:lnTo>
                <a:lnTo>
                  <a:pt x="1144" y="2681"/>
                </a:lnTo>
                <a:lnTo>
                  <a:pt x="1135" y="2663"/>
                </a:lnTo>
                <a:lnTo>
                  <a:pt x="1131" y="2655"/>
                </a:lnTo>
                <a:lnTo>
                  <a:pt x="1122" y="2639"/>
                </a:lnTo>
                <a:lnTo>
                  <a:pt x="1117" y="2630"/>
                </a:lnTo>
                <a:lnTo>
                  <a:pt x="1108" y="2614"/>
                </a:lnTo>
                <a:lnTo>
                  <a:pt x="1103" y="2607"/>
                </a:lnTo>
                <a:lnTo>
                  <a:pt x="1092" y="2591"/>
                </a:lnTo>
                <a:lnTo>
                  <a:pt x="1087" y="2583"/>
                </a:lnTo>
                <a:lnTo>
                  <a:pt x="1074" y="2567"/>
                </a:lnTo>
                <a:lnTo>
                  <a:pt x="1069" y="2560"/>
                </a:lnTo>
                <a:lnTo>
                  <a:pt x="1069" y="2560"/>
                </a:lnTo>
                <a:lnTo>
                  <a:pt x="1057" y="2546"/>
                </a:lnTo>
                <a:lnTo>
                  <a:pt x="1051" y="2539"/>
                </a:lnTo>
                <a:lnTo>
                  <a:pt x="1039" y="2525"/>
                </a:lnTo>
                <a:lnTo>
                  <a:pt x="1032" y="2518"/>
                </a:lnTo>
                <a:lnTo>
                  <a:pt x="1019" y="2505"/>
                </a:lnTo>
                <a:lnTo>
                  <a:pt x="1010" y="2498"/>
                </a:lnTo>
                <a:lnTo>
                  <a:pt x="998" y="2486"/>
                </a:lnTo>
                <a:lnTo>
                  <a:pt x="989" y="2479"/>
                </a:lnTo>
                <a:lnTo>
                  <a:pt x="977" y="2468"/>
                </a:lnTo>
                <a:lnTo>
                  <a:pt x="968" y="2461"/>
                </a:lnTo>
                <a:lnTo>
                  <a:pt x="954" y="2452"/>
                </a:lnTo>
                <a:lnTo>
                  <a:pt x="945" y="2445"/>
                </a:lnTo>
                <a:lnTo>
                  <a:pt x="930" y="2434"/>
                </a:lnTo>
                <a:lnTo>
                  <a:pt x="920" y="2429"/>
                </a:lnTo>
                <a:lnTo>
                  <a:pt x="907" y="2420"/>
                </a:lnTo>
                <a:lnTo>
                  <a:pt x="895" y="2413"/>
                </a:lnTo>
                <a:lnTo>
                  <a:pt x="883" y="2406"/>
                </a:lnTo>
                <a:lnTo>
                  <a:pt x="870" y="2400"/>
                </a:lnTo>
                <a:lnTo>
                  <a:pt x="858" y="2393"/>
                </a:lnTo>
                <a:lnTo>
                  <a:pt x="843" y="2388"/>
                </a:lnTo>
                <a:lnTo>
                  <a:pt x="831" y="2381"/>
                </a:lnTo>
                <a:lnTo>
                  <a:pt x="817" y="2377"/>
                </a:lnTo>
                <a:lnTo>
                  <a:pt x="804" y="2372"/>
                </a:lnTo>
                <a:lnTo>
                  <a:pt x="790" y="2367"/>
                </a:lnTo>
                <a:lnTo>
                  <a:pt x="776" y="2363"/>
                </a:lnTo>
                <a:lnTo>
                  <a:pt x="762" y="2358"/>
                </a:lnTo>
                <a:lnTo>
                  <a:pt x="749" y="2354"/>
                </a:lnTo>
                <a:lnTo>
                  <a:pt x="733" y="2351"/>
                </a:lnTo>
                <a:lnTo>
                  <a:pt x="719" y="2347"/>
                </a:lnTo>
                <a:lnTo>
                  <a:pt x="703" y="2345"/>
                </a:lnTo>
                <a:lnTo>
                  <a:pt x="691" y="2344"/>
                </a:lnTo>
                <a:lnTo>
                  <a:pt x="673" y="2340"/>
                </a:lnTo>
                <a:lnTo>
                  <a:pt x="661" y="2338"/>
                </a:lnTo>
                <a:lnTo>
                  <a:pt x="641" y="2338"/>
                </a:lnTo>
                <a:lnTo>
                  <a:pt x="632" y="2336"/>
                </a:lnTo>
                <a:lnTo>
                  <a:pt x="600" y="2336"/>
                </a:lnTo>
                <a:lnTo>
                  <a:pt x="570" y="2336"/>
                </a:lnTo>
                <a:lnTo>
                  <a:pt x="563" y="2338"/>
                </a:lnTo>
                <a:lnTo>
                  <a:pt x="540" y="2340"/>
                </a:lnTo>
                <a:lnTo>
                  <a:pt x="526" y="2342"/>
                </a:lnTo>
                <a:lnTo>
                  <a:pt x="510" y="2344"/>
                </a:lnTo>
                <a:lnTo>
                  <a:pt x="494" y="2345"/>
                </a:lnTo>
                <a:lnTo>
                  <a:pt x="481" y="2349"/>
                </a:lnTo>
                <a:lnTo>
                  <a:pt x="465" y="2351"/>
                </a:lnTo>
                <a:lnTo>
                  <a:pt x="453" y="2354"/>
                </a:lnTo>
                <a:lnTo>
                  <a:pt x="439" y="2360"/>
                </a:lnTo>
                <a:lnTo>
                  <a:pt x="424" y="2363"/>
                </a:lnTo>
                <a:lnTo>
                  <a:pt x="408" y="2368"/>
                </a:lnTo>
                <a:lnTo>
                  <a:pt x="396" y="2372"/>
                </a:lnTo>
                <a:lnTo>
                  <a:pt x="380" y="2379"/>
                </a:lnTo>
                <a:lnTo>
                  <a:pt x="369" y="2383"/>
                </a:lnTo>
                <a:lnTo>
                  <a:pt x="352" y="2390"/>
                </a:lnTo>
                <a:lnTo>
                  <a:pt x="343" y="2395"/>
                </a:lnTo>
                <a:lnTo>
                  <a:pt x="327" y="2402"/>
                </a:lnTo>
                <a:lnTo>
                  <a:pt x="316" y="2408"/>
                </a:lnTo>
                <a:lnTo>
                  <a:pt x="300" y="2416"/>
                </a:lnTo>
                <a:lnTo>
                  <a:pt x="291" y="2422"/>
                </a:lnTo>
                <a:lnTo>
                  <a:pt x="277" y="2432"/>
                </a:lnTo>
                <a:lnTo>
                  <a:pt x="268" y="2438"/>
                </a:lnTo>
                <a:lnTo>
                  <a:pt x="252" y="2448"/>
                </a:lnTo>
                <a:lnTo>
                  <a:pt x="245" y="2454"/>
                </a:lnTo>
                <a:lnTo>
                  <a:pt x="229" y="2466"/>
                </a:lnTo>
                <a:lnTo>
                  <a:pt x="222" y="2472"/>
                </a:lnTo>
                <a:lnTo>
                  <a:pt x="206" y="2484"/>
                </a:lnTo>
                <a:lnTo>
                  <a:pt x="201" y="2489"/>
                </a:lnTo>
                <a:lnTo>
                  <a:pt x="185" y="2503"/>
                </a:lnTo>
                <a:lnTo>
                  <a:pt x="179" y="2509"/>
                </a:lnTo>
                <a:lnTo>
                  <a:pt x="165" y="2525"/>
                </a:lnTo>
                <a:lnTo>
                  <a:pt x="160" y="2530"/>
                </a:lnTo>
                <a:lnTo>
                  <a:pt x="146" y="2546"/>
                </a:lnTo>
                <a:lnTo>
                  <a:pt x="140" y="2551"/>
                </a:lnTo>
                <a:lnTo>
                  <a:pt x="128" y="2567"/>
                </a:lnTo>
                <a:lnTo>
                  <a:pt x="123" y="2573"/>
                </a:lnTo>
                <a:lnTo>
                  <a:pt x="110" y="2591"/>
                </a:lnTo>
                <a:lnTo>
                  <a:pt x="107" y="2596"/>
                </a:lnTo>
                <a:lnTo>
                  <a:pt x="94" y="2615"/>
                </a:lnTo>
                <a:lnTo>
                  <a:pt x="91" y="2621"/>
                </a:lnTo>
                <a:lnTo>
                  <a:pt x="78" y="2640"/>
                </a:lnTo>
                <a:lnTo>
                  <a:pt x="76" y="2646"/>
                </a:lnTo>
                <a:lnTo>
                  <a:pt x="66" y="2665"/>
                </a:lnTo>
                <a:lnTo>
                  <a:pt x="62" y="2671"/>
                </a:lnTo>
                <a:lnTo>
                  <a:pt x="53" y="2692"/>
                </a:lnTo>
                <a:lnTo>
                  <a:pt x="50" y="2697"/>
                </a:lnTo>
                <a:lnTo>
                  <a:pt x="41" y="2718"/>
                </a:lnTo>
                <a:lnTo>
                  <a:pt x="39" y="2724"/>
                </a:lnTo>
                <a:lnTo>
                  <a:pt x="32" y="2745"/>
                </a:lnTo>
                <a:lnTo>
                  <a:pt x="30" y="2752"/>
                </a:lnTo>
                <a:lnTo>
                  <a:pt x="23" y="2774"/>
                </a:lnTo>
                <a:lnTo>
                  <a:pt x="21" y="2781"/>
                </a:lnTo>
                <a:lnTo>
                  <a:pt x="16" y="2802"/>
                </a:lnTo>
                <a:lnTo>
                  <a:pt x="14" y="2809"/>
                </a:lnTo>
                <a:lnTo>
                  <a:pt x="9" y="2830"/>
                </a:lnTo>
                <a:lnTo>
                  <a:pt x="9" y="2838"/>
                </a:lnTo>
                <a:lnTo>
                  <a:pt x="5" y="2861"/>
                </a:lnTo>
                <a:lnTo>
                  <a:pt x="4" y="2868"/>
                </a:lnTo>
                <a:lnTo>
                  <a:pt x="2" y="2891"/>
                </a:lnTo>
                <a:lnTo>
                  <a:pt x="2" y="2898"/>
                </a:lnTo>
                <a:lnTo>
                  <a:pt x="0" y="2921"/>
                </a:lnTo>
                <a:lnTo>
                  <a:pt x="0" y="2926"/>
                </a:lnTo>
                <a:lnTo>
                  <a:pt x="0" y="2926"/>
                </a:lnTo>
                <a:lnTo>
                  <a:pt x="5" y="2749"/>
                </a:lnTo>
                <a:lnTo>
                  <a:pt x="21" y="2573"/>
                </a:lnTo>
                <a:lnTo>
                  <a:pt x="48" y="2400"/>
                </a:lnTo>
                <a:lnTo>
                  <a:pt x="83" y="2232"/>
                </a:lnTo>
                <a:lnTo>
                  <a:pt x="128" y="2068"/>
                </a:lnTo>
                <a:lnTo>
                  <a:pt x="183" y="1907"/>
                </a:lnTo>
                <a:lnTo>
                  <a:pt x="247" y="1750"/>
                </a:lnTo>
                <a:lnTo>
                  <a:pt x="320" y="1597"/>
                </a:lnTo>
                <a:lnTo>
                  <a:pt x="400" y="1450"/>
                </a:lnTo>
                <a:lnTo>
                  <a:pt x="488" y="1310"/>
                </a:lnTo>
                <a:lnTo>
                  <a:pt x="584" y="1173"/>
                </a:lnTo>
                <a:lnTo>
                  <a:pt x="689" y="1043"/>
                </a:lnTo>
                <a:lnTo>
                  <a:pt x="799" y="919"/>
                </a:lnTo>
                <a:lnTo>
                  <a:pt x="916" y="800"/>
                </a:lnTo>
                <a:lnTo>
                  <a:pt x="1041" y="690"/>
                </a:lnTo>
                <a:lnTo>
                  <a:pt x="1170" y="587"/>
                </a:lnTo>
                <a:lnTo>
                  <a:pt x="1307" y="489"/>
                </a:lnTo>
                <a:lnTo>
                  <a:pt x="1449" y="402"/>
                </a:lnTo>
                <a:lnTo>
                  <a:pt x="1596" y="320"/>
                </a:lnTo>
                <a:lnTo>
                  <a:pt x="1747" y="249"/>
                </a:lnTo>
                <a:lnTo>
                  <a:pt x="1904" y="185"/>
                </a:lnTo>
                <a:lnTo>
                  <a:pt x="2065" y="130"/>
                </a:lnTo>
                <a:lnTo>
                  <a:pt x="2230" y="84"/>
                </a:lnTo>
                <a:lnTo>
                  <a:pt x="2399" y="48"/>
                </a:lnTo>
                <a:lnTo>
                  <a:pt x="2571" y="22"/>
                </a:lnTo>
                <a:lnTo>
                  <a:pt x="2747" y="7"/>
                </a:lnTo>
                <a:lnTo>
                  <a:pt x="2925" y="0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TextBox 178"/>
          <p:cNvSpPr txBox="1"/>
          <p:nvPr/>
        </p:nvSpPr>
        <p:spPr>
          <a:xfrm rot="19049323">
            <a:off x="24087" y="1860607"/>
            <a:ext cx="24626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-time Benefit</a:t>
            </a: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TextBox 182"/>
          <p:cNvSpPr txBox="1"/>
          <p:nvPr/>
        </p:nvSpPr>
        <p:spPr>
          <a:xfrm rot="3292228">
            <a:off x="2857567" y="2068003"/>
            <a:ext cx="24626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ment Cost</a:t>
            </a:r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Box 187"/>
          <p:cNvSpPr txBox="1"/>
          <p:nvPr/>
        </p:nvSpPr>
        <p:spPr>
          <a:xfrm rot="14196651">
            <a:off x="453815" y="3971943"/>
            <a:ext cx="24626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urring Benefit</a:t>
            </a: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TextBox 189"/>
          <p:cNvSpPr txBox="1"/>
          <p:nvPr/>
        </p:nvSpPr>
        <p:spPr>
          <a:xfrm rot="8043937">
            <a:off x="1875281" y="4256450"/>
            <a:ext cx="24626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urring Cost</a:t>
            </a: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Oval 1"/>
          <p:cNvSpPr/>
          <p:nvPr/>
        </p:nvSpPr>
        <p:spPr>
          <a:xfrm>
            <a:off x="1799981" y="1874572"/>
            <a:ext cx="1587511" cy="1720005"/>
          </a:xfrm>
          <a:prstGeom prst="ellipse">
            <a:avLst/>
          </a:prstGeom>
          <a:solidFill>
            <a:srgbClr val="FF7C80"/>
          </a:solidFill>
          <a:ln>
            <a:solidFill>
              <a:srgbClr val="FF7C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H" sz="3000" dirty="0" smtClean="0"/>
              <a:t>ROI</a:t>
            </a:r>
            <a:endParaRPr lang="en-PH" sz="3000" dirty="0"/>
          </a:p>
        </p:txBody>
      </p:sp>
    </p:spTree>
    <p:extLst>
      <p:ext uri="{BB962C8B-B14F-4D97-AF65-F5344CB8AC3E}">
        <p14:creationId xmlns:p14="http://schemas.microsoft.com/office/powerpoint/2010/main" val="3533644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ounded Rectangle 17"/>
          <p:cNvSpPr/>
          <p:nvPr/>
        </p:nvSpPr>
        <p:spPr>
          <a:xfrm>
            <a:off x="6621" y="3327834"/>
            <a:ext cx="1890210" cy="113412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H" sz="1050" dirty="0">
                <a:ln w="0"/>
                <a:solidFill>
                  <a:srgbClr val="FFFFFF"/>
                </a:solidFill>
                <a:effectLst>
                  <a:outerShdw blurRad="38100" dist="19050" dir="2700000" algn="tl" rotWithShape="0">
                    <a:srgbClr val="1A3B47">
                      <a:alpha val="40000"/>
                    </a:srgbClr>
                  </a:outerShdw>
                </a:effectLst>
              </a:rPr>
              <a:t>FTE Savings</a:t>
            </a:r>
          </a:p>
        </p:txBody>
      </p:sp>
      <p:sp>
        <p:nvSpPr>
          <p:cNvPr id="19" name="Rounded Rectangle 18"/>
          <p:cNvSpPr/>
          <p:nvPr/>
        </p:nvSpPr>
        <p:spPr>
          <a:xfrm>
            <a:off x="2436891" y="3327834"/>
            <a:ext cx="1890210" cy="113412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H" sz="1050" dirty="0">
                <a:ln w="0"/>
                <a:solidFill>
                  <a:srgbClr val="FFFFFF"/>
                </a:solidFill>
                <a:effectLst>
                  <a:outerShdw blurRad="38100" dist="19050" dir="2700000" algn="tl" rotWithShape="0">
                    <a:srgbClr val="1A3B47">
                      <a:alpha val="40000"/>
                    </a:srgbClr>
                  </a:outerShdw>
                </a:effectLst>
              </a:rPr>
              <a:t>Infrastructure Cost</a:t>
            </a:r>
          </a:p>
        </p:txBody>
      </p:sp>
      <p:sp>
        <p:nvSpPr>
          <p:cNvPr id="20" name="Rounded Rectangle 19"/>
          <p:cNvSpPr/>
          <p:nvPr/>
        </p:nvSpPr>
        <p:spPr>
          <a:xfrm>
            <a:off x="4867161" y="3327834"/>
            <a:ext cx="1890210" cy="113412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H" sz="1050" dirty="0" smtClean="0">
                <a:ln w="0"/>
                <a:solidFill>
                  <a:srgbClr val="FFFFFF"/>
                </a:solidFill>
                <a:effectLst>
                  <a:outerShdw blurRad="38100" dist="19050" dir="2700000" algn="tl" rotWithShape="0">
                    <a:srgbClr val="1A3B47">
                      <a:alpha val="40000"/>
                    </a:srgbClr>
                  </a:outerShdw>
                </a:effectLst>
              </a:rPr>
              <a:t>License </a:t>
            </a:r>
            <a:r>
              <a:rPr lang="en-PH" sz="1050" dirty="0">
                <a:ln w="0"/>
                <a:solidFill>
                  <a:srgbClr val="FFFFFF"/>
                </a:solidFill>
                <a:effectLst>
                  <a:outerShdw blurRad="38100" dist="19050" dir="2700000" algn="tl" rotWithShape="0">
                    <a:srgbClr val="1A3B47">
                      <a:alpha val="40000"/>
                    </a:srgbClr>
                  </a:outerShdw>
                </a:effectLst>
              </a:rPr>
              <a:t>Cost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0" y="3111810"/>
            <a:ext cx="9133635" cy="50098"/>
          </a:xfrm>
          <a:prstGeom prst="line">
            <a:avLst/>
          </a:prstGeom>
          <a:ln w="698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ounded Rectangle 15"/>
          <p:cNvSpPr/>
          <p:nvPr/>
        </p:nvSpPr>
        <p:spPr>
          <a:xfrm>
            <a:off x="7243425" y="3327834"/>
            <a:ext cx="1890210" cy="113412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H" sz="1050" dirty="0">
                <a:ln w="0"/>
                <a:solidFill>
                  <a:srgbClr val="FFFFFF"/>
                </a:solidFill>
                <a:effectLst>
                  <a:outerShdw blurRad="38100" dist="19050" dir="2700000" algn="tl" rotWithShape="0">
                    <a:srgbClr val="1A3B47">
                      <a:alpha val="40000"/>
                    </a:srgbClr>
                  </a:outerShdw>
                </a:effectLst>
              </a:rPr>
              <a:t>Maintenance</a:t>
            </a:r>
          </a:p>
        </p:txBody>
      </p:sp>
      <p:sp>
        <p:nvSpPr>
          <p:cNvPr id="25" name="Rounded Rectangle 24"/>
          <p:cNvSpPr/>
          <p:nvPr/>
        </p:nvSpPr>
        <p:spPr>
          <a:xfrm>
            <a:off x="6621" y="1559585"/>
            <a:ext cx="1890210" cy="113412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H" sz="1050" dirty="0">
                <a:ln w="0"/>
                <a:solidFill>
                  <a:srgbClr val="FFFFFF"/>
                </a:solidFill>
                <a:effectLst>
                  <a:outerShdw blurRad="38100" dist="19050" dir="2700000" algn="tl" rotWithShape="0">
                    <a:srgbClr val="1A3B47">
                      <a:alpha val="40000"/>
                    </a:srgbClr>
                  </a:outerShdw>
                </a:effectLst>
              </a:rPr>
              <a:t>Increased Revenue</a:t>
            </a:r>
          </a:p>
        </p:txBody>
      </p:sp>
      <p:sp>
        <p:nvSpPr>
          <p:cNvPr id="26" name="Rounded Rectangle 25"/>
          <p:cNvSpPr/>
          <p:nvPr/>
        </p:nvSpPr>
        <p:spPr>
          <a:xfrm>
            <a:off x="2436891" y="1543682"/>
            <a:ext cx="1890210" cy="113412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H" sz="1050" dirty="0">
                <a:ln w="0"/>
                <a:solidFill>
                  <a:srgbClr val="FFFFFF"/>
                </a:solidFill>
                <a:effectLst>
                  <a:outerShdw blurRad="38100" dist="19050" dir="2700000" algn="tl" rotWithShape="0">
                    <a:srgbClr val="1A3B47">
                      <a:alpha val="40000"/>
                    </a:srgbClr>
                  </a:outerShdw>
                </a:effectLst>
              </a:rPr>
              <a:t>Risk Avoidance Savings</a:t>
            </a:r>
          </a:p>
        </p:txBody>
      </p:sp>
      <p:sp>
        <p:nvSpPr>
          <p:cNvPr id="27" name="Rounded Rectangle 26"/>
          <p:cNvSpPr/>
          <p:nvPr/>
        </p:nvSpPr>
        <p:spPr>
          <a:xfrm>
            <a:off x="4867161" y="1543682"/>
            <a:ext cx="1890210" cy="113412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H" sz="1050" dirty="0">
                <a:ln w="0"/>
                <a:solidFill>
                  <a:srgbClr val="FFFFFF"/>
                </a:solidFill>
                <a:effectLst>
                  <a:outerShdw blurRad="38100" dist="19050" dir="2700000" algn="tl" rotWithShape="0">
                    <a:srgbClr val="1A3B47">
                      <a:alpha val="40000"/>
                    </a:srgbClr>
                  </a:outerShdw>
                </a:effectLst>
              </a:rPr>
              <a:t>Testing Cost</a:t>
            </a:r>
          </a:p>
        </p:txBody>
      </p:sp>
      <p:sp>
        <p:nvSpPr>
          <p:cNvPr id="28" name="Plus 27"/>
          <p:cNvSpPr/>
          <p:nvPr/>
        </p:nvSpPr>
        <p:spPr>
          <a:xfrm>
            <a:off x="1950838" y="1867719"/>
            <a:ext cx="425297" cy="425297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sz="1050"/>
          </a:p>
        </p:txBody>
      </p:sp>
      <p:sp>
        <p:nvSpPr>
          <p:cNvPr id="30" name="Rounded Rectangle 29"/>
          <p:cNvSpPr/>
          <p:nvPr/>
        </p:nvSpPr>
        <p:spPr>
          <a:xfrm>
            <a:off x="7243425" y="1543682"/>
            <a:ext cx="1890210" cy="113412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H" sz="1050" dirty="0">
                <a:ln w="0"/>
                <a:solidFill>
                  <a:srgbClr val="FFFFFF"/>
                </a:solidFill>
                <a:effectLst>
                  <a:outerShdw blurRad="38100" dist="19050" dir="2700000" algn="tl" rotWithShape="0">
                    <a:srgbClr val="1A3B47">
                      <a:alpha val="40000"/>
                    </a:srgbClr>
                  </a:outerShdw>
                </a:effectLst>
              </a:rPr>
              <a:t>Development Cost</a:t>
            </a:r>
          </a:p>
        </p:txBody>
      </p:sp>
      <p:sp>
        <p:nvSpPr>
          <p:cNvPr id="5" name="Minus 4"/>
          <p:cNvSpPr/>
          <p:nvPr/>
        </p:nvSpPr>
        <p:spPr>
          <a:xfrm>
            <a:off x="4372930" y="1846962"/>
            <a:ext cx="425297" cy="486054"/>
          </a:xfrm>
          <a:prstGeom prst="mathMin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sz="1050"/>
          </a:p>
        </p:txBody>
      </p:sp>
      <p:sp>
        <p:nvSpPr>
          <p:cNvPr id="32" name="Minus 31"/>
          <p:cNvSpPr/>
          <p:nvPr/>
        </p:nvSpPr>
        <p:spPr>
          <a:xfrm>
            <a:off x="6793357" y="1837340"/>
            <a:ext cx="425297" cy="486054"/>
          </a:xfrm>
          <a:prstGeom prst="mathMin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sz="1050"/>
          </a:p>
        </p:txBody>
      </p:sp>
      <p:sp>
        <p:nvSpPr>
          <p:cNvPr id="33" name="Minus 32"/>
          <p:cNvSpPr/>
          <p:nvPr/>
        </p:nvSpPr>
        <p:spPr>
          <a:xfrm>
            <a:off x="4372930" y="3651870"/>
            <a:ext cx="425297" cy="486054"/>
          </a:xfrm>
          <a:prstGeom prst="mathMin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sz="1050"/>
          </a:p>
        </p:txBody>
      </p:sp>
      <p:sp>
        <p:nvSpPr>
          <p:cNvPr id="34" name="Minus 33"/>
          <p:cNvSpPr/>
          <p:nvPr/>
        </p:nvSpPr>
        <p:spPr>
          <a:xfrm>
            <a:off x="6793357" y="3642248"/>
            <a:ext cx="425297" cy="486054"/>
          </a:xfrm>
          <a:prstGeom prst="mathMin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sz="1050"/>
          </a:p>
        </p:txBody>
      </p:sp>
      <p:sp>
        <p:nvSpPr>
          <p:cNvPr id="35" name="Minus 34"/>
          <p:cNvSpPr/>
          <p:nvPr/>
        </p:nvSpPr>
        <p:spPr>
          <a:xfrm>
            <a:off x="1965766" y="3651870"/>
            <a:ext cx="425297" cy="486054"/>
          </a:xfrm>
          <a:prstGeom prst="mathMin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sz="1050"/>
          </a:p>
        </p:txBody>
      </p:sp>
      <p:sp>
        <p:nvSpPr>
          <p:cNvPr id="21" name="Rectangle 20"/>
          <p:cNvSpPr/>
          <p:nvPr/>
        </p:nvSpPr>
        <p:spPr>
          <a:xfrm>
            <a:off x="4073236" y="124687"/>
            <a:ext cx="1246909" cy="259773"/>
          </a:xfrm>
          <a:prstGeom prst="rect">
            <a:avLst/>
          </a:prstGeom>
          <a:solidFill>
            <a:srgbClr val="000000">
              <a:lumMod val="50000"/>
              <a:lumOff val="5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COVERY</a:t>
            </a:r>
          </a:p>
        </p:txBody>
      </p:sp>
      <p:sp>
        <p:nvSpPr>
          <p:cNvPr id="22" name="Rectangle 21"/>
          <p:cNvSpPr/>
          <p:nvPr/>
        </p:nvSpPr>
        <p:spPr>
          <a:xfrm>
            <a:off x="6567054" y="120997"/>
            <a:ext cx="1246909" cy="259773"/>
          </a:xfrm>
          <a:prstGeom prst="rect">
            <a:avLst/>
          </a:prstGeom>
          <a:solidFill>
            <a:srgbClr val="000000">
              <a:lumMod val="50000"/>
              <a:lumOff val="5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LEMENTATION</a:t>
            </a:r>
          </a:p>
        </p:txBody>
      </p:sp>
      <p:sp>
        <p:nvSpPr>
          <p:cNvPr id="23" name="Rectangle 22"/>
          <p:cNvSpPr/>
          <p:nvPr/>
        </p:nvSpPr>
        <p:spPr>
          <a:xfrm>
            <a:off x="7813963" y="120997"/>
            <a:ext cx="1246909" cy="259773"/>
          </a:xfrm>
          <a:prstGeom prst="rect">
            <a:avLst/>
          </a:prstGeom>
          <a:solidFill>
            <a:srgbClr val="000000">
              <a:lumMod val="50000"/>
              <a:lumOff val="5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ERATIONS</a:t>
            </a:r>
          </a:p>
        </p:txBody>
      </p:sp>
      <p:sp>
        <p:nvSpPr>
          <p:cNvPr id="24" name="Rectangle 23"/>
          <p:cNvSpPr/>
          <p:nvPr/>
        </p:nvSpPr>
        <p:spPr>
          <a:xfrm>
            <a:off x="5320145" y="122842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OLUTIONING</a:t>
            </a:r>
            <a:endParaRPr lang="en-US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2826327" y="122842"/>
            <a:ext cx="1246909" cy="259773"/>
          </a:xfrm>
          <a:prstGeom prst="rect">
            <a:avLst/>
          </a:prstGeom>
          <a:solidFill>
            <a:srgbClr val="FF0000">
              <a:lumMod val="60000"/>
              <a:lumOff val="4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EATION</a:t>
            </a:r>
          </a:p>
        </p:txBody>
      </p:sp>
    </p:spTree>
    <p:extLst>
      <p:ext uri="{BB962C8B-B14F-4D97-AF65-F5344CB8AC3E}">
        <p14:creationId xmlns:p14="http://schemas.microsoft.com/office/powerpoint/2010/main" val="2497968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3000">
              <a:srgbClr val="003692"/>
            </a:gs>
            <a:gs pos="51000">
              <a:srgbClr val="006FB9"/>
            </a:gs>
            <a:gs pos="100000">
              <a:srgbClr val="0051A5"/>
            </a:gs>
          </a:gsLst>
          <a:path path="circle">
            <a:fillToRect r="100000" b="100000"/>
          </a:path>
          <a:tileRect l="-100000" t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36982803-9E9D-4E88-B89D-AE846D8FB630}"/>
              </a:ext>
            </a:extLst>
          </p:cNvPr>
          <p:cNvSpPr/>
          <p:nvPr/>
        </p:nvSpPr>
        <p:spPr>
          <a:xfrm flipV="1">
            <a:off x="8681" y="2617712"/>
            <a:ext cx="9549323" cy="34289"/>
          </a:xfrm>
          <a:prstGeom prst="rect">
            <a:avLst/>
          </a:prstGeom>
          <a:gradFill>
            <a:gsLst>
              <a:gs pos="3000">
                <a:schemeClr val="bg1"/>
              </a:gs>
              <a:gs pos="99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40">
              <a:buClrTx/>
            </a:pPr>
            <a:endParaRPr lang="en-US" sz="1800" kern="1200">
              <a:solidFill>
                <a:prstClr val="white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64E16148-AD47-4697-8565-75E344F1B208}"/>
              </a:ext>
            </a:extLst>
          </p:cNvPr>
          <p:cNvSpPr txBox="1"/>
          <p:nvPr/>
        </p:nvSpPr>
        <p:spPr>
          <a:xfrm>
            <a:off x="4171950" y="1773464"/>
            <a:ext cx="4914900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40">
              <a:buClrTx/>
            </a:pPr>
            <a:r>
              <a:rPr lang="en-US" sz="4950" b="1" kern="1200" dirty="0" smtClean="0">
                <a:solidFill>
                  <a:prstClr val="white">
                    <a:alpha val="49000"/>
                  </a:prst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CESS SELECTION</a:t>
            </a:r>
            <a:endParaRPr lang="en-US" sz="4950" b="1" kern="1200" dirty="0">
              <a:solidFill>
                <a:prstClr val="white">
                  <a:alpha val="49000"/>
                </a:prst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71E06802-AD2D-4BAD-97AA-A104B4379B83}"/>
              </a:ext>
            </a:extLst>
          </p:cNvPr>
          <p:cNvSpPr txBox="1"/>
          <p:nvPr/>
        </p:nvSpPr>
        <p:spPr>
          <a:xfrm>
            <a:off x="4229100" y="3315457"/>
            <a:ext cx="49149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40">
              <a:buClrTx/>
            </a:pPr>
            <a:r>
              <a:rPr lang="en-US" sz="2100" kern="1200" dirty="0" smtClean="0">
                <a:solidFill>
                  <a:prstClr val="white">
                    <a:alpha val="49000"/>
                  </a:prst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CUMENTING</a:t>
            </a:r>
            <a:endParaRPr lang="en-US" sz="2100" kern="1200" dirty="0">
              <a:solidFill>
                <a:prstClr val="white">
                  <a:alpha val="49000"/>
                </a:prst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073236" y="12468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DISCOVERY</a:t>
            </a:r>
            <a:endParaRPr lang="en-US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320145" y="122842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OLUTIONING</a:t>
            </a:r>
            <a:endParaRPr lang="en-US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567054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IMPLEMENTATION</a:t>
            </a:r>
            <a:endParaRPr lang="en-US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7813963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OPERATIONS</a:t>
            </a:r>
            <a:endParaRPr lang="en-US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826327" y="122842"/>
            <a:ext cx="1246909" cy="259773"/>
          </a:xfrm>
          <a:prstGeom prst="rect">
            <a:avLst/>
          </a:prstGeom>
          <a:solidFill>
            <a:srgbClr val="FF0000">
              <a:lumMod val="60000"/>
              <a:lumOff val="4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EATION</a:t>
            </a:r>
          </a:p>
        </p:txBody>
      </p:sp>
      <p:pic>
        <p:nvPicPr>
          <p:cNvPr id="19458" name="Picture 2" descr="http://www.korumburrasc.vic.edu.au/wordpress/wp-content/uploads/2015/07/documentati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482" y="1379186"/>
            <a:ext cx="2516619" cy="251661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</p:spTree>
    <p:extLst>
      <p:ext uri="{BB962C8B-B14F-4D97-AF65-F5344CB8AC3E}">
        <p14:creationId xmlns:p14="http://schemas.microsoft.com/office/powerpoint/2010/main" val="79731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/>
          <p:cNvSpPr/>
          <p:nvPr/>
        </p:nvSpPr>
        <p:spPr>
          <a:xfrm>
            <a:off x="4073236" y="124687"/>
            <a:ext cx="1246909" cy="259773"/>
          </a:xfrm>
          <a:prstGeom prst="rect">
            <a:avLst/>
          </a:prstGeom>
          <a:solidFill>
            <a:srgbClr val="000000">
              <a:lumMod val="50000"/>
              <a:lumOff val="5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COVERY</a:t>
            </a:r>
          </a:p>
        </p:txBody>
      </p:sp>
      <p:sp>
        <p:nvSpPr>
          <p:cNvPr id="37" name="Rectangle 36"/>
          <p:cNvSpPr/>
          <p:nvPr/>
        </p:nvSpPr>
        <p:spPr>
          <a:xfrm>
            <a:off x="6567054" y="120997"/>
            <a:ext cx="1246909" cy="259773"/>
          </a:xfrm>
          <a:prstGeom prst="rect">
            <a:avLst/>
          </a:prstGeom>
          <a:solidFill>
            <a:srgbClr val="000000">
              <a:lumMod val="50000"/>
              <a:lumOff val="5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LEMENTATION</a:t>
            </a:r>
          </a:p>
        </p:txBody>
      </p:sp>
      <p:sp>
        <p:nvSpPr>
          <p:cNvPr id="38" name="Rectangle 37"/>
          <p:cNvSpPr/>
          <p:nvPr/>
        </p:nvSpPr>
        <p:spPr>
          <a:xfrm>
            <a:off x="7813963" y="120997"/>
            <a:ext cx="1246909" cy="259773"/>
          </a:xfrm>
          <a:prstGeom prst="rect">
            <a:avLst/>
          </a:prstGeom>
          <a:solidFill>
            <a:srgbClr val="000000">
              <a:lumMod val="50000"/>
              <a:lumOff val="5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ERATIONS</a:t>
            </a:r>
          </a:p>
        </p:txBody>
      </p:sp>
      <p:sp>
        <p:nvSpPr>
          <p:cNvPr id="39" name="Rectangle 38"/>
          <p:cNvSpPr/>
          <p:nvPr/>
        </p:nvSpPr>
        <p:spPr>
          <a:xfrm>
            <a:off x="5320145" y="122842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OLUTIONING</a:t>
            </a:r>
            <a:endParaRPr lang="en-US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2826327" y="122842"/>
            <a:ext cx="1246909" cy="259773"/>
          </a:xfrm>
          <a:prstGeom prst="rect">
            <a:avLst/>
          </a:prstGeom>
          <a:solidFill>
            <a:srgbClr val="FF0000">
              <a:lumMod val="60000"/>
              <a:lumOff val="40000"/>
            </a:srgbClr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EATION</a:t>
            </a:r>
          </a:p>
        </p:txBody>
      </p:sp>
      <p:sp>
        <p:nvSpPr>
          <p:cNvPr id="42" name="Google Shape;199;p28"/>
          <p:cNvSpPr/>
          <p:nvPr/>
        </p:nvSpPr>
        <p:spPr>
          <a:xfrm>
            <a:off x="1028700" y="4070839"/>
            <a:ext cx="518747" cy="51874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" name="Google Shape;200;p28"/>
          <p:cNvSpPr/>
          <p:nvPr/>
        </p:nvSpPr>
        <p:spPr>
          <a:xfrm>
            <a:off x="2127738" y="2998178"/>
            <a:ext cx="518747" cy="51874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" name="Google Shape;201;p28"/>
          <p:cNvSpPr/>
          <p:nvPr/>
        </p:nvSpPr>
        <p:spPr>
          <a:xfrm>
            <a:off x="3226776" y="3719147"/>
            <a:ext cx="518747" cy="51874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2" name="Google Shape;202;p28"/>
          <p:cNvSpPr/>
          <p:nvPr/>
        </p:nvSpPr>
        <p:spPr>
          <a:xfrm>
            <a:off x="4325815" y="2628901"/>
            <a:ext cx="518747" cy="51874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3" name="Google Shape;203;p28"/>
          <p:cNvSpPr/>
          <p:nvPr/>
        </p:nvSpPr>
        <p:spPr>
          <a:xfrm>
            <a:off x="5424852" y="3358663"/>
            <a:ext cx="518747" cy="51874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75" name="Google Shape;205;p28"/>
          <p:cNvCxnSpPr>
            <a:stCxn id="42" idx="7"/>
            <a:endCxn id="44" idx="3"/>
          </p:cNvCxnSpPr>
          <p:nvPr/>
        </p:nvCxnSpPr>
        <p:spPr>
          <a:xfrm rot="10800000" flipH="1">
            <a:off x="1471478" y="3440983"/>
            <a:ext cx="732150" cy="705825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dash"/>
            <a:miter lim="800000"/>
            <a:headEnd type="none" w="sm" len="sm"/>
            <a:tailEnd type="triangle" w="med" len="med"/>
          </a:ln>
        </p:spPr>
      </p:cxnSp>
      <p:cxnSp>
        <p:nvCxnSpPr>
          <p:cNvPr id="77" name="Google Shape;206;p28"/>
          <p:cNvCxnSpPr>
            <a:stCxn id="44" idx="5"/>
            <a:endCxn id="46" idx="1"/>
          </p:cNvCxnSpPr>
          <p:nvPr/>
        </p:nvCxnSpPr>
        <p:spPr>
          <a:xfrm>
            <a:off x="2570516" y="3440955"/>
            <a:ext cx="732150" cy="35415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dash"/>
            <a:miter lim="800000"/>
            <a:headEnd type="none" w="sm" len="sm"/>
            <a:tailEnd type="triangle" w="med" len="med"/>
          </a:ln>
        </p:spPr>
      </p:cxnSp>
      <p:cxnSp>
        <p:nvCxnSpPr>
          <p:cNvPr id="78" name="Google Shape;207;p28"/>
          <p:cNvCxnSpPr>
            <a:stCxn id="46" idx="7"/>
            <a:endCxn id="72" idx="3"/>
          </p:cNvCxnSpPr>
          <p:nvPr/>
        </p:nvCxnSpPr>
        <p:spPr>
          <a:xfrm rot="10800000" flipH="1">
            <a:off x="3669554" y="3071741"/>
            <a:ext cx="732150" cy="723375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dash"/>
            <a:miter lim="800000"/>
            <a:headEnd type="none" w="sm" len="sm"/>
            <a:tailEnd type="triangle" w="med" len="med"/>
          </a:ln>
        </p:spPr>
      </p:cxnSp>
      <p:cxnSp>
        <p:nvCxnSpPr>
          <p:cNvPr id="79" name="Google Shape;208;p28"/>
          <p:cNvCxnSpPr>
            <a:stCxn id="72" idx="5"/>
            <a:endCxn id="73" idx="1"/>
          </p:cNvCxnSpPr>
          <p:nvPr/>
        </p:nvCxnSpPr>
        <p:spPr>
          <a:xfrm>
            <a:off x="4768593" y="3071678"/>
            <a:ext cx="732150" cy="362925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dash"/>
            <a:miter lim="800000"/>
            <a:headEnd type="none" w="sm" len="sm"/>
            <a:tailEnd type="triangle" w="med" len="med"/>
          </a:ln>
        </p:spPr>
      </p:cxnSp>
      <p:cxnSp>
        <p:nvCxnSpPr>
          <p:cNvPr id="80" name="Google Shape;209;p28"/>
          <p:cNvCxnSpPr>
            <a:stCxn id="73" idx="7"/>
          </p:cNvCxnSpPr>
          <p:nvPr/>
        </p:nvCxnSpPr>
        <p:spPr>
          <a:xfrm rot="10800000" flipH="1">
            <a:off x="5867630" y="2711257"/>
            <a:ext cx="732150" cy="723375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dash"/>
            <a:miter lim="800000"/>
            <a:headEnd type="none" w="sm" len="sm"/>
            <a:tailEnd type="triangle" w="med" len="med"/>
          </a:ln>
        </p:spPr>
      </p:cxnSp>
      <p:grpSp>
        <p:nvGrpSpPr>
          <p:cNvPr id="81" name="Google Shape;210;p28"/>
          <p:cNvGrpSpPr/>
          <p:nvPr/>
        </p:nvGrpSpPr>
        <p:grpSpPr>
          <a:xfrm rot="5400000">
            <a:off x="6614245" y="1550862"/>
            <a:ext cx="1152525" cy="1115615"/>
            <a:chOff x="6193" y="711"/>
            <a:chExt cx="968" cy="937"/>
          </a:xfrm>
        </p:grpSpPr>
        <p:sp>
          <p:nvSpPr>
            <p:cNvPr id="82" name="Google Shape;211;p28"/>
            <p:cNvSpPr/>
            <p:nvPr/>
          </p:nvSpPr>
          <p:spPr>
            <a:xfrm>
              <a:off x="6193" y="711"/>
              <a:ext cx="868" cy="865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49804" y="36669"/>
                  </a:moveTo>
                  <a:lnTo>
                    <a:pt x="48110" y="36773"/>
                  </a:lnTo>
                  <a:lnTo>
                    <a:pt x="46486" y="37120"/>
                  </a:lnTo>
                  <a:lnTo>
                    <a:pt x="44930" y="37640"/>
                  </a:lnTo>
                  <a:lnTo>
                    <a:pt x="43444" y="38369"/>
                  </a:lnTo>
                  <a:lnTo>
                    <a:pt x="42165" y="39271"/>
                  </a:lnTo>
                  <a:lnTo>
                    <a:pt x="40921" y="40346"/>
                  </a:lnTo>
                  <a:lnTo>
                    <a:pt x="39919" y="41526"/>
                  </a:lnTo>
                  <a:lnTo>
                    <a:pt x="38951" y="42879"/>
                  </a:lnTo>
                  <a:lnTo>
                    <a:pt x="38260" y="44336"/>
                  </a:lnTo>
                  <a:lnTo>
                    <a:pt x="37741" y="45897"/>
                  </a:lnTo>
                  <a:lnTo>
                    <a:pt x="37361" y="47528"/>
                  </a:lnTo>
                  <a:lnTo>
                    <a:pt x="37292" y="49228"/>
                  </a:lnTo>
                  <a:lnTo>
                    <a:pt x="37361" y="50928"/>
                  </a:lnTo>
                  <a:lnTo>
                    <a:pt x="37741" y="52558"/>
                  </a:lnTo>
                  <a:lnTo>
                    <a:pt x="38260" y="54119"/>
                  </a:lnTo>
                  <a:lnTo>
                    <a:pt x="38951" y="55542"/>
                  </a:lnTo>
                  <a:lnTo>
                    <a:pt x="39919" y="56895"/>
                  </a:lnTo>
                  <a:lnTo>
                    <a:pt x="40921" y="58109"/>
                  </a:lnTo>
                  <a:lnTo>
                    <a:pt x="42165" y="59150"/>
                  </a:lnTo>
                  <a:lnTo>
                    <a:pt x="43444" y="60052"/>
                  </a:lnTo>
                  <a:lnTo>
                    <a:pt x="44930" y="60815"/>
                  </a:lnTo>
                  <a:lnTo>
                    <a:pt x="46486" y="61335"/>
                  </a:lnTo>
                  <a:lnTo>
                    <a:pt x="48110" y="61682"/>
                  </a:lnTo>
                  <a:lnTo>
                    <a:pt x="49804" y="61786"/>
                  </a:lnTo>
                  <a:lnTo>
                    <a:pt x="51497" y="61682"/>
                  </a:lnTo>
                  <a:lnTo>
                    <a:pt x="53156" y="61335"/>
                  </a:lnTo>
                  <a:lnTo>
                    <a:pt x="54642" y="60815"/>
                  </a:lnTo>
                  <a:lnTo>
                    <a:pt x="56129" y="60052"/>
                  </a:lnTo>
                  <a:lnTo>
                    <a:pt x="57442" y="59150"/>
                  </a:lnTo>
                  <a:lnTo>
                    <a:pt x="58652" y="58109"/>
                  </a:lnTo>
                  <a:lnTo>
                    <a:pt x="59688" y="56895"/>
                  </a:lnTo>
                  <a:lnTo>
                    <a:pt x="60587" y="55542"/>
                  </a:lnTo>
                  <a:lnTo>
                    <a:pt x="61313" y="54119"/>
                  </a:lnTo>
                  <a:lnTo>
                    <a:pt x="61831" y="52558"/>
                  </a:lnTo>
                  <a:lnTo>
                    <a:pt x="62177" y="50928"/>
                  </a:lnTo>
                  <a:lnTo>
                    <a:pt x="62281" y="49228"/>
                  </a:lnTo>
                  <a:lnTo>
                    <a:pt x="62177" y="47528"/>
                  </a:lnTo>
                  <a:lnTo>
                    <a:pt x="61831" y="45897"/>
                  </a:lnTo>
                  <a:lnTo>
                    <a:pt x="61313" y="44336"/>
                  </a:lnTo>
                  <a:lnTo>
                    <a:pt x="60587" y="42879"/>
                  </a:lnTo>
                  <a:lnTo>
                    <a:pt x="59688" y="41526"/>
                  </a:lnTo>
                  <a:lnTo>
                    <a:pt x="58652" y="40346"/>
                  </a:lnTo>
                  <a:lnTo>
                    <a:pt x="57442" y="39271"/>
                  </a:lnTo>
                  <a:lnTo>
                    <a:pt x="56129" y="38369"/>
                  </a:lnTo>
                  <a:lnTo>
                    <a:pt x="54642" y="37640"/>
                  </a:lnTo>
                  <a:lnTo>
                    <a:pt x="53156" y="37120"/>
                  </a:lnTo>
                  <a:lnTo>
                    <a:pt x="51497" y="36773"/>
                  </a:lnTo>
                  <a:lnTo>
                    <a:pt x="49804" y="36669"/>
                  </a:lnTo>
                  <a:close/>
                  <a:moveTo>
                    <a:pt x="6877" y="0"/>
                  </a:moveTo>
                  <a:lnTo>
                    <a:pt x="6877" y="0"/>
                  </a:lnTo>
                  <a:lnTo>
                    <a:pt x="8364" y="34"/>
                  </a:lnTo>
                  <a:lnTo>
                    <a:pt x="9953" y="138"/>
                  </a:lnTo>
                  <a:lnTo>
                    <a:pt x="11716" y="242"/>
                  </a:lnTo>
                  <a:lnTo>
                    <a:pt x="13617" y="450"/>
                  </a:lnTo>
                  <a:lnTo>
                    <a:pt x="15587" y="728"/>
                  </a:lnTo>
                  <a:lnTo>
                    <a:pt x="17730" y="1110"/>
                  </a:lnTo>
                  <a:lnTo>
                    <a:pt x="19942" y="1595"/>
                  </a:lnTo>
                  <a:lnTo>
                    <a:pt x="22292" y="2185"/>
                  </a:lnTo>
                  <a:lnTo>
                    <a:pt x="24746" y="2879"/>
                  </a:lnTo>
                  <a:lnTo>
                    <a:pt x="27269" y="3677"/>
                  </a:lnTo>
                  <a:lnTo>
                    <a:pt x="29965" y="4648"/>
                  </a:lnTo>
                  <a:lnTo>
                    <a:pt x="32764" y="5758"/>
                  </a:lnTo>
                  <a:lnTo>
                    <a:pt x="35633" y="6973"/>
                  </a:lnTo>
                  <a:lnTo>
                    <a:pt x="38605" y="8395"/>
                  </a:lnTo>
                  <a:lnTo>
                    <a:pt x="41647" y="9956"/>
                  </a:lnTo>
                  <a:lnTo>
                    <a:pt x="44792" y="11725"/>
                  </a:lnTo>
                  <a:lnTo>
                    <a:pt x="48076" y="13668"/>
                  </a:lnTo>
                  <a:lnTo>
                    <a:pt x="51428" y="15784"/>
                  </a:lnTo>
                  <a:lnTo>
                    <a:pt x="54850" y="18109"/>
                  </a:lnTo>
                  <a:lnTo>
                    <a:pt x="58341" y="20676"/>
                  </a:lnTo>
                  <a:lnTo>
                    <a:pt x="61935" y="23451"/>
                  </a:lnTo>
                  <a:lnTo>
                    <a:pt x="65599" y="26435"/>
                  </a:lnTo>
                  <a:lnTo>
                    <a:pt x="69331" y="29731"/>
                  </a:lnTo>
                  <a:lnTo>
                    <a:pt x="72995" y="33096"/>
                  </a:lnTo>
                  <a:lnTo>
                    <a:pt x="76451" y="36496"/>
                  </a:lnTo>
                  <a:lnTo>
                    <a:pt x="79735" y="39895"/>
                  </a:lnTo>
                  <a:lnTo>
                    <a:pt x="82741" y="43261"/>
                  </a:lnTo>
                  <a:lnTo>
                    <a:pt x="103341" y="46938"/>
                  </a:lnTo>
                  <a:lnTo>
                    <a:pt x="103721" y="47077"/>
                  </a:lnTo>
                  <a:lnTo>
                    <a:pt x="104032" y="47320"/>
                  </a:lnTo>
                  <a:lnTo>
                    <a:pt x="119688" y="63798"/>
                  </a:lnTo>
                  <a:lnTo>
                    <a:pt x="119930" y="64180"/>
                  </a:lnTo>
                  <a:lnTo>
                    <a:pt x="120000" y="64527"/>
                  </a:lnTo>
                  <a:lnTo>
                    <a:pt x="119965" y="64943"/>
                  </a:lnTo>
                  <a:lnTo>
                    <a:pt x="119827" y="65359"/>
                  </a:lnTo>
                  <a:lnTo>
                    <a:pt x="119550" y="65637"/>
                  </a:lnTo>
                  <a:lnTo>
                    <a:pt x="119205" y="65845"/>
                  </a:lnTo>
                  <a:lnTo>
                    <a:pt x="99020" y="73269"/>
                  </a:lnTo>
                  <a:lnTo>
                    <a:pt x="99297" y="75281"/>
                  </a:lnTo>
                  <a:lnTo>
                    <a:pt x="99504" y="77155"/>
                  </a:lnTo>
                  <a:lnTo>
                    <a:pt x="99539" y="78889"/>
                  </a:lnTo>
                  <a:lnTo>
                    <a:pt x="99539" y="80450"/>
                  </a:lnTo>
                  <a:lnTo>
                    <a:pt x="99435" y="81873"/>
                  </a:lnTo>
                  <a:lnTo>
                    <a:pt x="99262" y="83156"/>
                  </a:lnTo>
                  <a:lnTo>
                    <a:pt x="99055" y="84267"/>
                  </a:lnTo>
                  <a:lnTo>
                    <a:pt x="98847" y="85203"/>
                  </a:lnTo>
                  <a:lnTo>
                    <a:pt x="98605" y="86036"/>
                  </a:lnTo>
                  <a:lnTo>
                    <a:pt x="98398" y="86626"/>
                  </a:lnTo>
                  <a:lnTo>
                    <a:pt x="106278" y="93876"/>
                  </a:lnTo>
                  <a:lnTo>
                    <a:pt x="106555" y="94258"/>
                  </a:lnTo>
                  <a:lnTo>
                    <a:pt x="106658" y="94744"/>
                  </a:lnTo>
                  <a:lnTo>
                    <a:pt x="106555" y="95229"/>
                  </a:lnTo>
                  <a:lnTo>
                    <a:pt x="106313" y="95646"/>
                  </a:lnTo>
                  <a:lnTo>
                    <a:pt x="100437" y="101890"/>
                  </a:lnTo>
                  <a:lnTo>
                    <a:pt x="100023" y="102168"/>
                  </a:lnTo>
                  <a:lnTo>
                    <a:pt x="99608" y="102272"/>
                  </a:lnTo>
                  <a:lnTo>
                    <a:pt x="99158" y="102202"/>
                  </a:lnTo>
                  <a:lnTo>
                    <a:pt x="98709" y="101960"/>
                  </a:lnTo>
                  <a:lnTo>
                    <a:pt x="90794" y="95437"/>
                  </a:lnTo>
                  <a:lnTo>
                    <a:pt x="89170" y="96444"/>
                  </a:lnTo>
                  <a:lnTo>
                    <a:pt x="87407" y="97207"/>
                  </a:lnTo>
                  <a:lnTo>
                    <a:pt x="85541" y="97831"/>
                  </a:lnTo>
                  <a:lnTo>
                    <a:pt x="83605" y="98248"/>
                  </a:lnTo>
                  <a:lnTo>
                    <a:pt x="81532" y="98456"/>
                  </a:lnTo>
                  <a:lnTo>
                    <a:pt x="79389" y="98456"/>
                  </a:lnTo>
                  <a:lnTo>
                    <a:pt x="73410" y="119098"/>
                  </a:lnTo>
                  <a:lnTo>
                    <a:pt x="73237" y="119479"/>
                  </a:lnTo>
                  <a:lnTo>
                    <a:pt x="72960" y="119757"/>
                  </a:lnTo>
                  <a:lnTo>
                    <a:pt x="72580" y="119965"/>
                  </a:lnTo>
                  <a:lnTo>
                    <a:pt x="72407" y="120000"/>
                  </a:lnTo>
                  <a:lnTo>
                    <a:pt x="72200" y="120000"/>
                  </a:lnTo>
                  <a:lnTo>
                    <a:pt x="71820" y="119930"/>
                  </a:lnTo>
                  <a:lnTo>
                    <a:pt x="71440" y="119722"/>
                  </a:lnTo>
                  <a:lnTo>
                    <a:pt x="53986" y="105151"/>
                  </a:lnTo>
                  <a:lnTo>
                    <a:pt x="53778" y="105013"/>
                  </a:lnTo>
                  <a:lnTo>
                    <a:pt x="53675" y="104770"/>
                  </a:lnTo>
                  <a:lnTo>
                    <a:pt x="53605" y="104562"/>
                  </a:lnTo>
                  <a:lnTo>
                    <a:pt x="47903" y="84058"/>
                  </a:lnTo>
                  <a:lnTo>
                    <a:pt x="46347" y="82879"/>
                  </a:lnTo>
                  <a:lnTo>
                    <a:pt x="44861" y="81699"/>
                  </a:lnTo>
                  <a:lnTo>
                    <a:pt x="43444" y="80555"/>
                  </a:lnTo>
                  <a:lnTo>
                    <a:pt x="42096" y="79514"/>
                  </a:lnTo>
                  <a:lnTo>
                    <a:pt x="40887" y="78473"/>
                  </a:lnTo>
                  <a:lnTo>
                    <a:pt x="39746" y="77502"/>
                  </a:lnTo>
                  <a:lnTo>
                    <a:pt x="38709" y="76600"/>
                  </a:lnTo>
                  <a:lnTo>
                    <a:pt x="37776" y="75767"/>
                  </a:lnTo>
                  <a:lnTo>
                    <a:pt x="37016" y="75073"/>
                  </a:lnTo>
                  <a:lnTo>
                    <a:pt x="36359" y="74449"/>
                  </a:lnTo>
                  <a:lnTo>
                    <a:pt x="35806" y="73963"/>
                  </a:lnTo>
                  <a:lnTo>
                    <a:pt x="35426" y="73581"/>
                  </a:lnTo>
                  <a:lnTo>
                    <a:pt x="35184" y="73339"/>
                  </a:lnTo>
                  <a:lnTo>
                    <a:pt x="35080" y="73269"/>
                  </a:lnTo>
                  <a:lnTo>
                    <a:pt x="31486" y="69522"/>
                  </a:lnTo>
                  <a:lnTo>
                    <a:pt x="28133" y="65880"/>
                  </a:lnTo>
                  <a:lnTo>
                    <a:pt x="25023" y="62307"/>
                  </a:lnTo>
                  <a:lnTo>
                    <a:pt x="22188" y="58803"/>
                  </a:lnTo>
                  <a:lnTo>
                    <a:pt x="19527" y="55368"/>
                  </a:lnTo>
                  <a:lnTo>
                    <a:pt x="17108" y="51934"/>
                  </a:lnTo>
                  <a:lnTo>
                    <a:pt x="14861" y="48638"/>
                  </a:lnTo>
                  <a:lnTo>
                    <a:pt x="12857" y="45446"/>
                  </a:lnTo>
                  <a:lnTo>
                    <a:pt x="11025" y="42289"/>
                  </a:lnTo>
                  <a:lnTo>
                    <a:pt x="9366" y="39202"/>
                  </a:lnTo>
                  <a:lnTo>
                    <a:pt x="7880" y="36253"/>
                  </a:lnTo>
                  <a:lnTo>
                    <a:pt x="6532" y="33373"/>
                  </a:lnTo>
                  <a:lnTo>
                    <a:pt x="5391" y="30598"/>
                  </a:lnTo>
                  <a:lnTo>
                    <a:pt x="4354" y="27927"/>
                  </a:lnTo>
                  <a:lnTo>
                    <a:pt x="3456" y="25394"/>
                  </a:lnTo>
                  <a:lnTo>
                    <a:pt x="2695" y="22931"/>
                  </a:lnTo>
                  <a:lnTo>
                    <a:pt x="2039" y="20572"/>
                  </a:lnTo>
                  <a:lnTo>
                    <a:pt x="1520" y="18317"/>
                  </a:lnTo>
                  <a:lnTo>
                    <a:pt x="1071" y="16235"/>
                  </a:lnTo>
                  <a:lnTo>
                    <a:pt x="725" y="14223"/>
                  </a:lnTo>
                  <a:lnTo>
                    <a:pt x="449" y="12385"/>
                  </a:lnTo>
                  <a:lnTo>
                    <a:pt x="241" y="10650"/>
                  </a:lnTo>
                  <a:lnTo>
                    <a:pt x="138" y="9054"/>
                  </a:lnTo>
                  <a:lnTo>
                    <a:pt x="34" y="7632"/>
                  </a:lnTo>
                  <a:lnTo>
                    <a:pt x="0" y="6313"/>
                  </a:lnTo>
                  <a:lnTo>
                    <a:pt x="0" y="5169"/>
                  </a:lnTo>
                  <a:lnTo>
                    <a:pt x="34" y="4128"/>
                  </a:lnTo>
                  <a:lnTo>
                    <a:pt x="69" y="3295"/>
                  </a:lnTo>
                  <a:lnTo>
                    <a:pt x="138" y="2601"/>
                  </a:lnTo>
                  <a:lnTo>
                    <a:pt x="207" y="2046"/>
                  </a:lnTo>
                  <a:lnTo>
                    <a:pt x="241" y="1699"/>
                  </a:lnTo>
                  <a:lnTo>
                    <a:pt x="276" y="1491"/>
                  </a:lnTo>
                  <a:lnTo>
                    <a:pt x="449" y="1040"/>
                  </a:lnTo>
                  <a:lnTo>
                    <a:pt x="760" y="659"/>
                  </a:lnTo>
                  <a:lnTo>
                    <a:pt x="1209" y="450"/>
                  </a:lnTo>
                  <a:lnTo>
                    <a:pt x="1382" y="450"/>
                  </a:lnTo>
                  <a:lnTo>
                    <a:pt x="1762" y="381"/>
                  </a:lnTo>
                  <a:lnTo>
                    <a:pt x="2384" y="277"/>
                  </a:lnTo>
                  <a:lnTo>
                    <a:pt x="3179" y="208"/>
                  </a:lnTo>
                  <a:lnTo>
                    <a:pt x="4216" y="138"/>
                  </a:lnTo>
                  <a:lnTo>
                    <a:pt x="5426" y="34"/>
                  </a:lnTo>
                  <a:lnTo>
                    <a:pt x="687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endParaRPr sz="135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" name="Google Shape;212;p28"/>
            <p:cNvSpPr/>
            <p:nvPr/>
          </p:nvSpPr>
          <p:spPr>
            <a:xfrm>
              <a:off x="6860" y="1478"/>
              <a:ext cx="195" cy="170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17931" y="0"/>
                  </a:moveTo>
                  <a:lnTo>
                    <a:pt x="19463" y="351"/>
                  </a:lnTo>
                  <a:lnTo>
                    <a:pt x="20842" y="1583"/>
                  </a:lnTo>
                  <a:lnTo>
                    <a:pt x="118467" y="110146"/>
                  </a:lnTo>
                  <a:lnTo>
                    <a:pt x="119540" y="112082"/>
                  </a:lnTo>
                  <a:lnTo>
                    <a:pt x="120000" y="114193"/>
                  </a:lnTo>
                  <a:lnTo>
                    <a:pt x="119540" y="116480"/>
                  </a:lnTo>
                  <a:lnTo>
                    <a:pt x="118620" y="118240"/>
                  </a:lnTo>
                  <a:lnTo>
                    <a:pt x="117088" y="119296"/>
                  </a:lnTo>
                  <a:lnTo>
                    <a:pt x="115095" y="119999"/>
                  </a:lnTo>
                  <a:lnTo>
                    <a:pt x="64674" y="119999"/>
                  </a:lnTo>
                  <a:lnTo>
                    <a:pt x="62835" y="119472"/>
                  </a:lnTo>
                  <a:lnTo>
                    <a:pt x="61302" y="118240"/>
                  </a:lnTo>
                  <a:lnTo>
                    <a:pt x="1532" y="52609"/>
                  </a:lnTo>
                  <a:lnTo>
                    <a:pt x="459" y="50850"/>
                  </a:lnTo>
                  <a:lnTo>
                    <a:pt x="0" y="48914"/>
                  </a:lnTo>
                  <a:lnTo>
                    <a:pt x="306" y="46803"/>
                  </a:lnTo>
                  <a:lnTo>
                    <a:pt x="12873" y="3695"/>
                  </a:lnTo>
                  <a:lnTo>
                    <a:pt x="13639" y="2111"/>
                  </a:lnTo>
                  <a:lnTo>
                    <a:pt x="14712" y="879"/>
                  </a:lnTo>
                  <a:lnTo>
                    <a:pt x="16398" y="175"/>
                  </a:lnTo>
                  <a:lnTo>
                    <a:pt x="1793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endParaRPr sz="135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" name="Google Shape;213;p28"/>
            <p:cNvSpPr/>
            <p:nvPr/>
          </p:nvSpPr>
          <p:spPr>
            <a:xfrm>
              <a:off x="6954" y="1425"/>
              <a:ext cx="207" cy="223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25012" y="0"/>
                  </a:moveTo>
                  <a:lnTo>
                    <a:pt x="25012" y="0"/>
                  </a:lnTo>
                  <a:lnTo>
                    <a:pt x="26168" y="403"/>
                  </a:lnTo>
                  <a:lnTo>
                    <a:pt x="27325" y="1479"/>
                  </a:lnTo>
                  <a:lnTo>
                    <a:pt x="28337" y="2690"/>
                  </a:lnTo>
                  <a:lnTo>
                    <a:pt x="118843" y="91479"/>
                  </a:lnTo>
                  <a:lnTo>
                    <a:pt x="119421" y="92690"/>
                  </a:lnTo>
                  <a:lnTo>
                    <a:pt x="120000" y="93901"/>
                  </a:lnTo>
                  <a:lnTo>
                    <a:pt x="120000" y="95112"/>
                  </a:lnTo>
                  <a:lnTo>
                    <a:pt x="120000" y="115695"/>
                  </a:lnTo>
                  <a:lnTo>
                    <a:pt x="119566" y="117309"/>
                  </a:lnTo>
                  <a:lnTo>
                    <a:pt x="118843" y="118654"/>
                  </a:lnTo>
                  <a:lnTo>
                    <a:pt x="117253" y="119596"/>
                  </a:lnTo>
                  <a:lnTo>
                    <a:pt x="115518" y="119999"/>
                  </a:lnTo>
                  <a:lnTo>
                    <a:pt x="95710" y="119999"/>
                  </a:lnTo>
                  <a:lnTo>
                    <a:pt x="93975" y="119596"/>
                  </a:lnTo>
                  <a:lnTo>
                    <a:pt x="92530" y="118654"/>
                  </a:lnTo>
                  <a:lnTo>
                    <a:pt x="1156" y="31883"/>
                  </a:lnTo>
                  <a:lnTo>
                    <a:pt x="433" y="30672"/>
                  </a:lnTo>
                  <a:lnTo>
                    <a:pt x="0" y="29058"/>
                  </a:lnTo>
                  <a:lnTo>
                    <a:pt x="144" y="27443"/>
                  </a:lnTo>
                  <a:lnTo>
                    <a:pt x="1012" y="26233"/>
                  </a:lnTo>
                  <a:lnTo>
                    <a:pt x="21542" y="2825"/>
                  </a:lnTo>
                  <a:lnTo>
                    <a:pt x="22265" y="2017"/>
                  </a:lnTo>
                  <a:lnTo>
                    <a:pt x="23132" y="1076"/>
                  </a:lnTo>
                  <a:lnTo>
                    <a:pt x="24000" y="269"/>
                  </a:lnTo>
                  <a:lnTo>
                    <a:pt x="25012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endParaRPr sz="135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" name="Google Shape;214;p28"/>
            <p:cNvSpPr/>
            <p:nvPr/>
          </p:nvSpPr>
          <p:spPr>
            <a:xfrm>
              <a:off x="6985" y="1337"/>
              <a:ext cx="176" cy="204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37733" y="0"/>
                  </a:moveTo>
                  <a:lnTo>
                    <a:pt x="39433" y="293"/>
                  </a:lnTo>
                  <a:lnTo>
                    <a:pt x="40963" y="1172"/>
                  </a:lnTo>
                  <a:lnTo>
                    <a:pt x="118300" y="66373"/>
                  </a:lnTo>
                  <a:lnTo>
                    <a:pt x="119490" y="67838"/>
                  </a:lnTo>
                  <a:lnTo>
                    <a:pt x="120000" y="69597"/>
                  </a:lnTo>
                  <a:lnTo>
                    <a:pt x="120000" y="115311"/>
                  </a:lnTo>
                  <a:lnTo>
                    <a:pt x="119490" y="117069"/>
                  </a:lnTo>
                  <a:lnTo>
                    <a:pt x="118640" y="118681"/>
                  </a:lnTo>
                  <a:lnTo>
                    <a:pt x="116770" y="119706"/>
                  </a:lnTo>
                  <a:lnTo>
                    <a:pt x="115750" y="119853"/>
                  </a:lnTo>
                  <a:lnTo>
                    <a:pt x="114730" y="119999"/>
                  </a:lnTo>
                  <a:lnTo>
                    <a:pt x="112521" y="119706"/>
                  </a:lnTo>
                  <a:lnTo>
                    <a:pt x="110991" y="118681"/>
                  </a:lnTo>
                  <a:lnTo>
                    <a:pt x="1699" y="25347"/>
                  </a:lnTo>
                  <a:lnTo>
                    <a:pt x="509" y="23589"/>
                  </a:lnTo>
                  <a:lnTo>
                    <a:pt x="0" y="21538"/>
                  </a:lnTo>
                  <a:lnTo>
                    <a:pt x="509" y="20073"/>
                  </a:lnTo>
                  <a:lnTo>
                    <a:pt x="1189" y="18901"/>
                  </a:lnTo>
                  <a:lnTo>
                    <a:pt x="2719" y="18021"/>
                  </a:lnTo>
                  <a:lnTo>
                    <a:pt x="34164" y="732"/>
                  </a:lnTo>
                  <a:lnTo>
                    <a:pt x="36033" y="0"/>
                  </a:lnTo>
                  <a:lnTo>
                    <a:pt x="37733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endParaRPr sz="135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8" name="Google Shape;216;p28"/>
          <p:cNvSpPr/>
          <p:nvPr/>
        </p:nvSpPr>
        <p:spPr>
          <a:xfrm>
            <a:off x="771842" y="3361471"/>
            <a:ext cx="956493" cy="692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algn="ctr"/>
            <a:r>
              <a:rPr lang="en-US" sz="1350" dirty="0" smtClean="0">
                <a:solidFill>
                  <a:schemeClr val="bg1"/>
                </a:solidFill>
              </a:rPr>
              <a:t>Objectives</a:t>
            </a:r>
            <a:endParaRPr sz="1350" dirty="0">
              <a:solidFill>
                <a:schemeClr val="bg1"/>
              </a:solidFill>
            </a:endParaRPr>
          </a:p>
        </p:txBody>
      </p:sp>
      <p:sp>
        <p:nvSpPr>
          <p:cNvPr id="89" name="Google Shape;217;p28"/>
          <p:cNvSpPr/>
          <p:nvPr/>
        </p:nvSpPr>
        <p:spPr>
          <a:xfrm>
            <a:off x="2950248" y="2859337"/>
            <a:ext cx="1030267" cy="692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algn="ctr"/>
            <a:r>
              <a:rPr lang="en-US" sz="1350" dirty="0" smtClean="0">
                <a:solidFill>
                  <a:schemeClr val="bg1"/>
                </a:solidFill>
              </a:rPr>
              <a:t>Cost</a:t>
            </a:r>
            <a:endParaRPr sz="1350" dirty="0">
              <a:solidFill>
                <a:schemeClr val="bg1"/>
              </a:solidFill>
            </a:endParaRPr>
          </a:p>
        </p:txBody>
      </p:sp>
      <p:sp>
        <p:nvSpPr>
          <p:cNvPr id="90" name="Google Shape;218;p28"/>
          <p:cNvSpPr/>
          <p:nvPr/>
        </p:nvSpPr>
        <p:spPr>
          <a:xfrm>
            <a:off x="1932406" y="3877408"/>
            <a:ext cx="1018633" cy="692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algn="ctr"/>
            <a:r>
              <a:rPr lang="en-US" sz="1350" dirty="0" smtClean="0">
                <a:solidFill>
                  <a:schemeClr val="bg1"/>
                </a:solidFill>
              </a:rPr>
              <a:t>Savings</a:t>
            </a:r>
            <a:endParaRPr sz="1350" dirty="0">
              <a:solidFill>
                <a:schemeClr val="bg1"/>
              </a:solidFill>
            </a:endParaRPr>
          </a:p>
        </p:txBody>
      </p:sp>
      <p:sp>
        <p:nvSpPr>
          <p:cNvPr id="91" name="Google Shape;219;p28"/>
          <p:cNvSpPr/>
          <p:nvPr/>
        </p:nvSpPr>
        <p:spPr>
          <a:xfrm>
            <a:off x="4075501" y="3551835"/>
            <a:ext cx="954584" cy="692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algn="ctr"/>
            <a:r>
              <a:rPr lang="en-PH" sz="1350" dirty="0" smtClean="0">
                <a:solidFill>
                  <a:schemeClr val="bg1"/>
                </a:solidFill>
              </a:rPr>
              <a:t>ROI</a:t>
            </a:r>
            <a:endParaRPr sz="1350" dirty="0">
              <a:solidFill>
                <a:schemeClr val="bg1"/>
              </a:solidFill>
            </a:endParaRPr>
          </a:p>
        </p:txBody>
      </p:sp>
      <p:sp>
        <p:nvSpPr>
          <p:cNvPr id="92" name="Google Shape;220;p28"/>
          <p:cNvSpPr/>
          <p:nvPr/>
        </p:nvSpPr>
        <p:spPr>
          <a:xfrm>
            <a:off x="5121089" y="2499841"/>
            <a:ext cx="954584" cy="692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algn="ctr"/>
            <a:r>
              <a:rPr lang="en-US" sz="1350" dirty="0" smtClean="0">
                <a:solidFill>
                  <a:schemeClr val="bg1"/>
                </a:solidFill>
              </a:rPr>
              <a:t>Approval </a:t>
            </a:r>
            <a:endParaRPr sz="1350" dirty="0">
              <a:solidFill>
                <a:schemeClr val="bg1"/>
              </a:solidFill>
            </a:endParaRPr>
          </a:p>
        </p:txBody>
      </p:sp>
      <p:sp>
        <p:nvSpPr>
          <p:cNvPr id="96" name="Google Shape;224;p28"/>
          <p:cNvSpPr/>
          <p:nvPr/>
        </p:nvSpPr>
        <p:spPr>
          <a:xfrm>
            <a:off x="1154739" y="4199354"/>
            <a:ext cx="266669" cy="261716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60194" y="37486"/>
                </a:moveTo>
                <a:lnTo>
                  <a:pt x="57886" y="37653"/>
                </a:lnTo>
                <a:lnTo>
                  <a:pt x="55634" y="37959"/>
                </a:lnTo>
                <a:lnTo>
                  <a:pt x="53493" y="38515"/>
                </a:lnTo>
                <a:lnTo>
                  <a:pt x="51408" y="39294"/>
                </a:lnTo>
                <a:lnTo>
                  <a:pt x="49434" y="40241"/>
                </a:lnTo>
                <a:lnTo>
                  <a:pt x="47599" y="41354"/>
                </a:lnTo>
                <a:lnTo>
                  <a:pt x="45875" y="42662"/>
                </a:lnTo>
                <a:lnTo>
                  <a:pt x="44263" y="44081"/>
                </a:lnTo>
                <a:lnTo>
                  <a:pt x="42817" y="45695"/>
                </a:lnTo>
                <a:lnTo>
                  <a:pt x="41538" y="47448"/>
                </a:lnTo>
                <a:lnTo>
                  <a:pt x="40426" y="49313"/>
                </a:lnTo>
                <a:lnTo>
                  <a:pt x="39481" y="51261"/>
                </a:lnTo>
                <a:lnTo>
                  <a:pt x="38702" y="53320"/>
                </a:lnTo>
                <a:lnTo>
                  <a:pt x="38146" y="55491"/>
                </a:lnTo>
                <a:lnTo>
                  <a:pt x="37784" y="57717"/>
                </a:lnTo>
                <a:lnTo>
                  <a:pt x="37673" y="60000"/>
                </a:lnTo>
                <a:lnTo>
                  <a:pt x="37784" y="62309"/>
                </a:lnTo>
                <a:lnTo>
                  <a:pt x="38146" y="64564"/>
                </a:lnTo>
                <a:lnTo>
                  <a:pt x="38702" y="66706"/>
                </a:lnTo>
                <a:lnTo>
                  <a:pt x="39481" y="68794"/>
                </a:lnTo>
                <a:lnTo>
                  <a:pt x="40426" y="70769"/>
                </a:lnTo>
                <a:lnTo>
                  <a:pt x="41538" y="72578"/>
                </a:lnTo>
                <a:lnTo>
                  <a:pt x="42817" y="74332"/>
                </a:lnTo>
                <a:lnTo>
                  <a:pt x="44263" y="75918"/>
                </a:lnTo>
                <a:lnTo>
                  <a:pt x="45875" y="77393"/>
                </a:lnTo>
                <a:lnTo>
                  <a:pt x="47599" y="78673"/>
                </a:lnTo>
                <a:lnTo>
                  <a:pt x="49434" y="79786"/>
                </a:lnTo>
                <a:lnTo>
                  <a:pt x="51408" y="80732"/>
                </a:lnTo>
                <a:lnTo>
                  <a:pt x="53493" y="81512"/>
                </a:lnTo>
                <a:lnTo>
                  <a:pt x="55634" y="82040"/>
                </a:lnTo>
                <a:lnTo>
                  <a:pt x="57886" y="82402"/>
                </a:lnTo>
                <a:lnTo>
                  <a:pt x="60194" y="82513"/>
                </a:lnTo>
                <a:lnTo>
                  <a:pt x="62474" y="82402"/>
                </a:lnTo>
                <a:lnTo>
                  <a:pt x="64698" y="82040"/>
                </a:lnTo>
                <a:lnTo>
                  <a:pt x="66867" y="81512"/>
                </a:lnTo>
                <a:lnTo>
                  <a:pt x="68924" y="80732"/>
                </a:lnTo>
                <a:lnTo>
                  <a:pt x="70898" y="79786"/>
                </a:lnTo>
                <a:lnTo>
                  <a:pt x="72761" y="78673"/>
                </a:lnTo>
                <a:lnTo>
                  <a:pt x="74513" y="77393"/>
                </a:lnTo>
                <a:lnTo>
                  <a:pt x="76070" y="75918"/>
                </a:lnTo>
                <a:lnTo>
                  <a:pt x="77516" y="74332"/>
                </a:lnTo>
                <a:lnTo>
                  <a:pt x="78850" y="72578"/>
                </a:lnTo>
                <a:lnTo>
                  <a:pt x="79962" y="70769"/>
                </a:lnTo>
                <a:lnTo>
                  <a:pt x="80908" y="68794"/>
                </a:lnTo>
                <a:lnTo>
                  <a:pt x="81686" y="66706"/>
                </a:lnTo>
                <a:lnTo>
                  <a:pt x="82215" y="64564"/>
                </a:lnTo>
                <a:lnTo>
                  <a:pt x="82548" y="62309"/>
                </a:lnTo>
                <a:lnTo>
                  <a:pt x="82659" y="60000"/>
                </a:lnTo>
                <a:lnTo>
                  <a:pt x="82548" y="57717"/>
                </a:lnTo>
                <a:lnTo>
                  <a:pt x="82215" y="55491"/>
                </a:lnTo>
                <a:lnTo>
                  <a:pt x="81686" y="53320"/>
                </a:lnTo>
                <a:lnTo>
                  <a:pt x="80908" y="51261"/>
                </a:lnTo>
                <a:lnTo>
                  <a:pt x="79962" y="49313"/>
                </a:lnTo>
                <a:lnTo>
                  <a:pt x="78850" y="47448"/>
                </a:lnTo>
                <a:lnTo>
                  <a:pt x="77516" y="45695"/>
                </a:lnTo>
                <a:lnTo>
                  <a:pt x="76070" y="44081"/>
                </a:lnTo>
                <a:lnTo>
                  <a:pt x="74513" y="42662"/>
                </a:lnTo>
                <a:lnTo>
                  <a:pt x="72761" y="41354"/>
                </a:lnTo>
                <a:lnTo>
                  <a:pt x="70898" y="40241"/>
                </a:lnTo>
                <a:lnTo>
                  <a:pt x="68924" y="39294"/>
                </a:lnTo>
                <a:lnTo>
                  <a:pt x="66867" y="38515"/>
                </a:lnTo>
                <a:lnTo>
                  <a:pt x="64698" y="37959"/>
                </a:lnTo>
                <a:lnTo>
                  <a:pt x="62474" y="37653"/>
                </a:lnTo>
                <a:lnTo>
                  <a:pt x="60194" y="37486"/>
                </a:lnTo>
                <a:close/>
                <a:moveTo>
                  <a:pt x="56468" y="0"/>
                </a:moveTo>
                <a:lnTo>
                  <a:pt x="63614" y="0"/>
                </a:lnTo>
                <a:lnTo>
                  <a:pt x="64559" y="83"/>
                </a:lnTo>
                <a:lnTo>
                  <a:pt x="65449" y="333"/>
                </a:lnTo>
                <a:lnTo>
                  <a:pt x="66283" y="723"/>
                </a:lnTo>
                <a:lnTo>
                  <a:pt x="67006" y="1252"/>
                </a:lnTo>
                <a:lnTo>
                  <a:pt x="67645" y="1892"/>
                </a:lnTo>
                <a:lnTo>
                  <a:pt x="68174" y="2643"/>
                </a:lnTo>
                <a:lnTo>
                  <a:pt x="68563" y="3478"/>
                </a:lnTo>
                <a:lnTo>
                  <a:pt x="68785" y="4369"/>
                </a:lnTo>
                <a:lnTo>
                  <a:pt x="70787" y="16335"/>
                </a:lnTo>
                <a:lnTo>
                  <a:pt x="73484" y="17087"/>
                </a:lnTo>
                <a:lnTo>
                  <a:pt x="76098" y="18005"/>
                </a:lnTo>
                <a:lnTo>
                  <a:pt x="78656" y="19063"/>
                </a:lnTo>
                <a:lnTo>
                  <a:pt x="81130" y="20259"/>
                </a:lnTo>
                <a:lnTo>
                  <a:pt x="83493" y="21623"/>
                </a:lnTo>
                <a:lnTo>
                  <a:pt x="85801" y="23098"/>
                </a:lnTo>
                <a:lnTo>
                  <a:pt x="95949" y="16725"/>
                </a:lnTo>
                <a:lnTo>
                  <a:pt x="96784" y="16280"/>
                </a:lnTo>
                <a:lnTo>
                  <a:pt x="97673" y="16029"/>
                </a:lnTo>
                <a:lnTo>
                  <a:pt x="98563" y="15918"/>
                </a:lnTo>
                <a:lnTo>
                  <a:pt x="99481" y="15974"/>
                </a:lnTo>
                <a:lnTo>
                  <a:pt x="100370" y="16196"/>
                </a:lnTo>
                <a:lnTo>
                  <a:pt x="101204" y="16558"/>
                </a:lnTo>
                <a:lnTo>
                  <a:pt x="101955" y="17031"/>
                </a:lnTo>
                <a:lnTo>
                  <a:pt x="102650" y="17671"/>
                </a:lnTo>
                <a:lnTo>
                  <a:pt x="107377" y="22987"/>
                </a:lnTo>
                <a:lnTo>
                  <a:pt x="107961" y="23766"/>
                </a:lnTo>
                <a:lnTo>
                  <a:pt x="108378" y="24601"/>
                </a:lnTo>
                <a:lnTo>
                  <a:pt x="108628" y="25463"/>
                </a:lnTo>
                <a:lnTo>
                  <a:pt x="108739" y="26382"/>
                </a:lnTo>
                <a:lnTo>
                  <a:pt x="108656" y="27300"/>
                </a:lnTo>
                <a:lnTo>
                  <a:pt x="108433" y="28163"/>
                </a:lnTo>
                <a:lnTo>
                  <a:pt x="108072" y="28998"/>
                </a:lnTo>
                <a:lnTo>
                  <a:pt x="107571" y="29805"/>
                </a:lnTo>
                <a:lnTo>
                  <a:pt x="99953" y="39239"/>
                </a:lnTo>
                <a:lnTo>
                  <a:pt x="101093" y="41660"/>
                </a:lnTo>
                <a:lnTo>
                  <a:pt x="102122" y="44137"/>
                </a:lnTo>
                <a:lnTo>
                  <a:pt x="102984" y="46669"/>
                </a:lnTo>
                <a:lnTo>
                  <a:pt x="103707" y="49313"/>
                </a:lnTo>
                <a:lnTo>
                  <a:pt x="115579" y="51261"/>
                </a:lnTo>
                <a:lnTo>
                  <a:pt x="116496" y="51512"/>
                </a:lnTo>
                <a:lnTo>
                  <a:pt x="117358" y="51873"/>
                </a:lnTo>
                <a:lnTo>
                  <a:pt x="118109" y="52430"/>
                </a:lnTo>
                <a:lnTo>
                  <a:pt x="118748" y="53042"/>
                </a:lnTo>
                <a:lnTo>
                  <a:pt x="119249" y="53794"/>
                </a:lnTo>
                <a:lnTo>
                  <a:pt x="119666" y="54628"/>
                </a:lnTo>
                <a:lnTo>
                  <a:pt x="119916" y="55519"/>
                </a:lnTo>
                <a:lnTo>
                  <a:pt x="120000" y="56437"/>
                </a:lnTo>
                <a:lnTo>
                  <a:pt x="120000" y="63589"/>
                </a:lnTo>
                <a:lnTo>
                  <a:pt x="119916" y="64536"/>
                </a:lnTo>
                <a:lnTo>
                  <a:pt x="119666" y="65398"/>
                </a:lnTo>
                <a:lnTo>
                  <a:pt x="119249" y="66233"/>
                </a:lnTo>
                <a:lnTo>
                  <a:pt x="118748" y="66957"/>
                </a:lnTo>
                <a:lnTo>
                  <a:pt x="118109" y="67625"/>
                </a:lnTo>
                <a:lnTo>
                  <a:pt x="117358" y="68126"/>
                </a:lnTo>
                <a:lnTo>
                  <a:pt x="116524" y="68543"/>
                </a:lnTo>
                <a:lnTo>
                  <a:pt x="115579" y="68766"/>
                </a:lnTo>
                <a:lnTo>
                  <a:pt x="103707" y="70769"/>
                </a:lnTo>
                <a:lnTo>
                  <a:pt x="102984" y="73413"/>
                </a:lnTo>
                <a:lnTo>
                  <a:pt x="102066" y="76001"/>
                </a:lnTo>
                <a:lnTo>
                  <a:pt x="101010" y="78506"/>
                </a:lnTo>
                <a:lnTo>
                  <a:pt x="99842" y="80955"/>
                </a:lnTo>
                <a:lnTo>
                  <a:pt x="98507" y="83293"/>
                </a:lnTo>
                <a:lnTo>
                  <a:pt x="105681" y="93339"/>
                </a:lnTo>
                <a:lnTo>
                  <a:pt x="106153" y="94174"/>
                </a:lnTo>
                <a:lnTo>
                  <a:pt x="106487" y="95064"/>
                </a:lnTo>
                <a:lnTo>
                  <a:pt x="106626" y="95927"/>
                </a:lnTo>
                <a:lnTo>
                  <a:pt x="106626" y="96846"/>
                </a:lnTo>
                <a:lnTo>
                  <a:pt x="106487" y="97764"/>
                </a:lnTo>
                <a:lnTo>
                  <a:pt x="106181" y="98599"/>
                </a:lnTo>
                <a:lnTo>
                  <a:pt x="105708" y="99406"/>
                </a:lnTo>
                <a:lnTo>
                  <a:pt x="105125" y="100129"/>
                </a:lnTo>
                <a:lnTo>
                  <a:pt x="100064" y="105139"/>
                </a:lnTo>
                <a:lnTo>
                  <a:pt x="99341" y="105779"/>
                </a:lnTo>
                <a:lnTo>
                  <a:pt x="98535" y="106252"/>
                </a:lnTo>
                <a:lnTo>
                  <a:pt x="97701" y="106530"/>
                </a:lnTo>
                <a:lnTo>
                  <a:pt x="96784" y="106669"/>
                </a:lnTo>
                <a:lnTo>
                  <a:pt x="95922" y="106669"/>
                </a:lnTo>
                <a:lnTo>
                  <a:pt x="95004" y="106530"/>
                </a:lnTo>
                <a:lnTo>
                  <a:pt x="94142" y="106196"/>
                </a:lnTo>
                <a:lnTo>
                  <a:pt x="93336" y="105723"/>
                </a:lnTo>
                <a:lnTo>
                  <a:pt x="83243" y="98515"/>
                </a:lnTo>
                <a:lnTo>
                  <a:pt x="80908" y="99823"/>
                </a:lnTo>
                <a:lnTo>
                  <a:pt x="78517" y="101020"/>
                </a:lnTo>
                <a:lnTo>
                  <a:pt x="75987" y="102050"/>
                </a:lnTo>
                <a:lnTo>
                  <a:pt x="73401" y="102968"/>
                </a:lnTo>
                <a:lnTo>
                  <a:pt x="70787" y="103692"/>
                </a:lnTo>
                <a:lnTo>
                  <a:pt x="68785" y="115630"/>
                </a:lnTo>
                <a:lnTo>
                  <a:pt x="68563" y="116549"/>
                </a:lnTo>
                <a:lnTo>
                  <a:pt x="68174" y="117384"/>
                </a:lnTo>
                <a:lnTo>
                  <a:pt x="67645" y="118163"/>
                </a:lnTo>
                <a:lnTo>
                  <a:pt x="67006" y="118775"/>
                </a:lnTo>
                <a:lnTo>
                  <a:pt x="66283" y="119332"/>
                </a:lnTo>
                <a:lnTo>
                  <a:pt x="65449" y="119693"/>
                </a:lnTo>
                <a:lnTo>
                  <a:pt x="64559" y="119944"/>
                </a:lnTo>
                <a:lnTo>
                  <a:pt x="63614" y="120000"/>
                </a:lnTo>
                <a:lnTo>
                  <a:pt x="56468" y="120000"/>
                </a:lnTo>
                <a:lnTo>
                  <a:pt x="55579" y="119944"/>
                </a:lnTo>
                <a:lnTo>
                  <a:pt x="54661" y="119693"/>
                </a:lnTo>
                <a:lnTo>
                  <a:pt x="53855" y="119332"/>
                </a:lnTo>
                <a:lnTo>
                  <a:pt x="53076" y="118775"/>
                </a:lnTo>
                <a:lnTo>
                  <a:pt x="52465" y="118163"/>
                </a:lnTo>
                <a:lnTo>
                  <a:pt x="51964" y="117384"/>
                </a:lnTo>
                <a:lnTo>
                  <a:pt x="51547" y="116549"/>
                </a:lnTo>
                <a:lnTo>
                  <a:pt x="51353" y="115630"/>
                </a:lnTo>
                <a:lnTo>
                  <a:pt x="49351" y="103692"/>
                </a:lnTo>
                <a:lnTo>
                  <a:pt x="46709" y="102968"/>
                </a:lnTo>
                <a:lnTo>
                  <a:pt x="44179" y="102077"/>
                </a:lnTo>
                <a:lnTo>
                  <a:pt x="41677" y="101076"/>
                </a:lnTo>
                <a:lnTo>
                  <a:pt x="39286" y="99935"/>
                </a:lnTo>
                <a:lnTo>
                  <a:pt x="36950" y="98627"/>
                </a:lnTo>
                <a:lnTo>
                  <a:pt x="34726" y="97207"/>
                </a:lnTo>
                <a:lnTo>
                  <a:pt x="24439" y="103692"/>
                </a:lnTo>
                <a:lnTo>
                  <a:pt x="23577" y="104137"/>
                </a:lnTo>
                <a:lnTo>
                  <a:pt x="22687" y="104387"/>
                </a:lnTo>
                <a:lnTo>
                  <a:pt x="21797" y="104499"/>
                </a:lnTo>
                <a:lnTo>
                  <a:pt x="20908" y="104443"/>
                </a:lnTo>
                <a:lnTo>
                  <a:pt x="20018" y="104248"/>
                </a:lnTo>
                <a:lnTo>
                  <a:pt x="19156" y="103886"/>
                </a:lnTo>
                <a:lnTo>
                  <a:pt x="18378" y="103358"/>
                </a:lnTo>
                <a:lnTo>
                  <a:pt x="17683" y="102717"/>
                </a:lnTo>
                <a:lnTo>
                  <a:pt x="12956" y="97402"/>
                </a:lnTo>
                <a:lnTo>
                  <a:pt x="12400" y="96623"/>
                </a:lnTo>
                <a:lnTo>
                  <a:pt x="12011" y="95816"/>
                </a:lnTo>
                <a:lnTo>
                  <a:pt x="11760" y="94953"/>
                </a:lnTo>
                <a:lnTo>
                  <a:pt x="11649" y="94035"/>
                </a:lnTo>
                <a:lnTo>
                  <a:pt x="11705" y="93116"/>
                </a:lnTo>
                <a:lnTo>
                  <a:pt x="11899" y="92254"/>
                </a:lnTo>
                <a:lnTo>
                  <a:pt x="12289" y="91419"/>
                </a:lnTo>
                <a:lnTo>
                  <a:pt x="12817" y="90612"/>
                </a:lnTo>
                <a:lnTo>
                  <a:pt x="20379" y="81205"/>
                </a:lnTo>
                <a:lnTo>
                  <a:pt x="19156" y="78729"/>
                </a:lnTo>
                <a:lnTo>
                  <a:pt x="18100" y="76141"/>
                </a:lnTo>
                <a:lnTo>
                  <a:pt x="17182" y="73497"/>
                </a:lnTo>
                <a:lnTo>
                  <a:pt x="16404" y="70769"/>
                </a:lnTo>
                <a:lnTo>
                  <a:pt x="4392" y="68766"/>
                </a:lnTo>
                <a:lnTo>
                  <a:pt x="3475" y="68543"/>
                </a:lnTo>
                <a:lnTo>
                  <a:pt x="2641" y="68126"/>
                </a:lnTo>
                <a:lnTo>
                  <a:pt x="1890" y="67625"/>
                </a:lnTo>
                <a:lnTo>
                  <a:pt x="1278" y="66957"/>
                </a:lnTo>
                <a:lnTo>
                  <a:pt x="722" y="66233"/>
                </a:lnTo>
                <a:lnTo>
                  <a:pt x="305" y="65398"/>
                </a:lnTo>
                <a:lnTo>
                  <a:pt x="111" y="64536"/>
                </a:lnTo>
                <a:lnTo>
                  <a:pt x="0" y="63589"/>
                </a:lnTo>
                <a:lnTo>
                  <a:pt x="0" y="56437"/>
                </a:lnTo>
                <a:lnTo>
                  <a:pt x="111" y="55519"/>
                </a:lnTo>
                <a:lnTo>
                  <a:pt x="305" y="54628"/>
                </a:lnTo>
                <a:lnTo>
                  <a:pt x="722" y="53794"/>
                </a:lnTo>
                <a:lnTo>
                  <a:pt x="1278" y="53042"/>
                </a:lnTo>
                <a:lnTo>
                  <a:pt x="1890" y="52430"/>
                </a:lnTo>
                <a:lnTo>
                  <a:pt x="2641" y="51873"/>
                </a:lnTo>
                <a:lnTo>
                  <a:pt x="3475" y="51512"/>
                </a:lnTo>
                <a:lnTo>
                  <a:pt x="4392" y="51261"/>
                </a:lnTo>
                <a:lnTo>
                  <a:pt x="16404" y="49257"/>
                </a:lnTo>
                <a:lnTo>
                  <a:pt x="17154" y="46614"/>
                </a:lnTo>
                <a:lnTo>
                  <a:pt x="18044" y="44025"/>
                </a:lnTo>
                <a:lnTo>
                  <a:pt x="19073" y="41493"/>
                </a:lnTo>
                <a:lnTo>
                  <a:pt x="20268" y="39100"/>
                </a:lnTo>
                <a:lnTo>
                  <a:pt x="21631" y="36734"/>
                </a:lnTo>
                <a:lnTo>
                  <a:pt x="14708" y="27050"/>
                </a:lnTo>
                <a:lnTo>
                  <a:pt x="14235" y="26243"/>
                </a:lnTo>
                <a:lnTo>
                  <a:pt x="13901" y="25352"/>
                </a:lnTo>
                <a:lnTo>
                  <a:pt x="13734" y="24489"/>
                </a:lnTo>
                <a:lnTo>
                  <a:pt x="13734" y="23571"/>
                </a:lnTo>
                <a:lnTo>
                  <a:pt x="13873" y="22680"/>
                </a:lnTo>
                <a:lnTo>
                  <a:pt x="14207" y="21818"/>
                </a:lnTo>
                <a:lnTo>
                  <a:pt x="14624" y="21038"/>
                </a:lnTo>
                <a:lnTo>
                  <a:pt x="15264" y="20287"/>
                </a:lnTo>
                <a:lnTo>
                  <a:pt x="20268" y="15250"/>
                </a:lnTo>
                <a:lnTo>
                  <a:pt x="20991" y="14666"/>
                </a:lnTo>
                <a:lnTo>
                  <a:pt x="21797" y="14192"/>
                </a:lnTo>
                <a:lnTo>
                  <a:pt x="22687" y="13886"/>
                </a:lnTo>
                <a:lnTo>
                  <a:pt x="23549" y="13747"/>
                </a:lnTo>
                <a:lnTo>
                  <a:pt x="24467" y="13747"/>
                </a:lnTo>
                <a:lnTo>
                  <a:pt x="25384" y="13886"/>
                </a:lnTo>
                <a:lnTo>
                  <a:pt x="26218" y="14220"/>
                </a:lnTo>
                <a:lnTo>
                  <a:pt x="27052" y="14693"/>
                </a:lnTo>
                <a:lnTo>
                  <a:pt x="36700" y="21623"/>
                </a:lnTo>
                <a:lnTo>
                  <a:pt x="39063" y="20259"/>
                </a:lnTo>
                <a:lnTo>
                  <a:pt x="41510" y="19063"/>
                </a:lnTo>
                <a:lnTo>
                  <a:pt x="44068" y="18005"/>
                </a:lnTo>
                <a:lnTo>
                  <a:pt x="46654" y="17087"/>
                </a:lnTo>
                <a:lnTo>
                  <a:pt x="49351" y="16363"/>
                </a:lnTo>
                <a:lnTo>
                  <a:pt x="51353" y="4369"/>
                </a:lnTo>
                <a:lnTo>
                  <a:pt x="51547" y="3478"/>
                </a:lnTo>
                <a:lnTo>
                  <a:pt x="51964" y="2643"/>
                </a:lnTo>
                <a:lnTo>
                  <a:pt x="52465" y="1892"/>
                </a:lnTo>
                <a:lnTo>
                  <a:pt x="53076" y="1252"/>
                </a:lnTo>
                <a:lnTo>
                  <a:pt x="53855" y="723"/>
                </a:lnTo>
                <a:lnTo>
                  <a:pt x="54661" y="333"/>
                </a:lnTo>
                <a:lnTo>
                  <a:pt x="55579" y="83"/>
                </a:lnTo>
                <a:lnTo>
                  <a:pt x="56468" y="0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endParaRPr sz="135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7" name="Google Shape;225;p28"/>
          <p:cNvSpPr/>
          <p:nvPr/>
        </p:nvSpPr>
        <p:spPr>
          <a:xfrm>
            <a:off x="2246779" y="3135102"/>
            <a:ext cx="280667" cy="24489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30449" y="59368"/>
                </a:moveTo>
                <a:lnTo>
                  <a:pt x="29464" y="59368"/>
                </a:lnTo>
                <a:lnTo>
                  <a:pt x="28355" y="59393"/>
                </a:lnTo>
                <a:lnTo>
                  <a:pt x="27246" y="59542"/>
                </a:lnTo>
                <a:lnTo>
                  <a:pt x="26138" y="59740"/>
                </a:lnTo>
                <a:lnTo>
                  <a:pt x="25029" y="59987"/>
                </a:lnTo>
                <a:lnTo>
                  <a:pt x="23921" y="60309"/>
                </a:lnTo>
                <a:lnTo>
                  <a:pt x="22886" y="60730"/>
                </a:lnTo>
                <a:lnTo>
                  <a:pt x="21925" y="61249"/>
                </a:lnTo>
                <a:lnTo>
                  <a:pt x="21038" y="61868"/>
                </a:lnTo>
                <a:lnTo>
                  <a:pt x="20275" y="62586"/>
                </a:lnTo>
                <a:lnTo>
                  <a:pt x="19634" y="63353"/>
                </a:lnTo>
                <a:lnTo>
                  <a:pt x="19018" y="64491"/>
                </a:lnTo>
                <a:lnTo>
                  <a:pt x="18525" y="65580"/>
                </a:lnTo>
                <a:lnTo>
                  <a:pt x="18279" y="66570"/>
                </a:lnTo>
                <a:lnTo>
                  <a:pt x="18205" y="67585"/>
                </a:lnTo>
                <a:lnTo>
                  <a:pt x="18353" y="68525"/>
                </a:lnTo>
                <a:lnTo>
                  <a:pt x="18649" y="69490"/>
                </a:lnTo>
                <a:lnTo>
                  <a:pt x="19117" y="70381"/>
                </a:lnTo>
                <a:lnTo>
                  <a:pt x="19782" y="71321"/>
                </a:lnTo>
                <a:lnTo>
                  <a:pt x="20644" y="72237"/>
                </a:lnTo>
                <a:lnTo>
                  <a:pt x="21679" y="73128"/>
                </a:lnTo>
                <a:lnTo>
                  <a:pt x="22861" y="74044"/>
                </a:lnTo>
                <a:lnTo>
                  <a:pt x="24216" y="75009"/>
                </a:lnTo>
                <a:lnTo>
                  <a:pt x="25768" y="75924"/>
                </a:lnTo>
                <a:lnTo>
                  <a:pt x="27197" y="76716"/>
                </a:lnTo>
                <a:lnTo>
                  <a:pt x="28528" y="77310"/>
                </a:lnTo>
                <a:lnTo>
                  <a:pt x="29784" y="77681"/>
                </a:lnTo>
                <a:lnTo>
                  <a:pt x="30966" y="77904"/>
                </a:lnTo>
                <a:lnTo>
                  <a:pt x="32075" y="77855"/>
                </a:lnTo>
                <a:lnTo>
                  <a:pt x="33110" y="77632"/>
                </a:lnTo>
                <a:lnTo>
                  <a:pt x="34071" y="77187"/>
                </a:lnTo>
                <a:lnTo>
                  <a:pt x="35007" y="76518"/>
                </a:lnTo>
                <a:lnTo>
                  <a:pt x="35894" y="75627"/>
                </a:lnTo>
                <a:lnTo>
                  <a:pt x="36731" y="74489"/>
                </a:lnTo>
                <a:lnTo>
                  <a:pt x="37224" y="73524"/>
                </a:lnTo>
                <a:lnTo>
                  <a:pt x="37544" y="72485"/>
                </a:lnTo>
                <a:lnTo>
                  <a:pt x="37741" y="71346"/>
                </a:lnTo>
                <a:lnTo>
                  <a:pt x="37815" y="70158"/>
                </a:lnTo>
                <a:lnTo>
                  <a:pt x="37741" y="68970"/>
                </a:lnTo>
                <a:lnTo>
                  <a:pt x="37544" y="67758"/>
                </a:lnTo>
                <a:lnTo>
                  <a:pt x="37298" y="66570"/>
                </a:lnTo>
                <a:lnTo>
                  <a:pt x="36953" y="65432"/>
                </a:lnTo>
                <a:lnTo>
                  <a:pt x="36559" y="64318"/>
                </a:lnTo>
                <a:lnTo>
                  <a:pt x="36140" y="63279"/>
                </a:lnTo>
                <a:lnTo>
                  <a:pt x="35696" y="62363"/>
                </a:lnTo>
                <a:lnTo>
                  <a:pt x="35228" y="61546"/>
                </a:lnTo>
                <a:lnTo>
                  <a:pt x="34785" y="60878"/>
                </a:lnTo>
                <a:lnTo>
                  <a:pt x="34366" y="60358"/>
                </a:lnTo>
                <a:lnTo>
                  <a:pt x="33972" y="60037"/>
                </a:lnTo>
                <a:lnTo>
                  <a:pt x="33553" y="59814"/>
                </a:lnTo>
                <a:lnTo>
                  <a:pt x="32962" y="59665"/>
                </a:lnTo>
                <a:lnTo>
                  <a:pt x="32223" y="59517"/>
                </a:lnTo>
                <a:lnTo>
                  <a:pt x="31410" y="59393"/>
                </a:lnTo>
                <a:lnTo>
                  <a:pt x="30449" y="59368"/>
                </a:lnTo>
                <a:close/>
                <a:moveTo>
                  <a:pt x="60332" y="58948"/>
                </a:moveTo>
                <a:lnTo>
                  <a:pt x="59297" y="59022"/>
                </a:lnTo>
                <a:lnTo>
                  <a:pt x="58386" y="59096"/>
                </a:lnTo>
                <a:lnTo>
                  <a:pt x="57524" y="59220"/>
                </a:lnTo>
                <a:lnTo>
                  <a:pt x="56785" y="59393"/>
                </a:lnTo>
                <a:lnTo>
                  <a:pt x="56243" y="59591"/>
                </a:lnTo>
                <a:lnTo>
                  <a:pt x="55824" y="59814"/>
                </a:lnTo>
                <a:lnTo>
                  <a:pt x="55454" y="60136"/>
                </a:lnTo>
                <a:lnTo>
                  <a:pt x="55085" y="60606"/>
                </a:lnTo>
                <a:lnTo>
                  <a:pt x="54715" y="61249"/>
                </a:lnTo>
                <a:lnTo>
                  <a:pt x="54321" y="61992"/>
                </a:lnTo>
                <a:lnTo>
                  <a:pt x="53902" y="62833"/>
                </a:lnTo>
                <a:lnTo>
                  <a:pt x="53533" y="63798"/>
                </a:lnTo>
                <a:lnTo>
                  <a:pt x="53212" y="64838"/>
                </a:lnTo>
                <a:lnTo>
                  <a:pt x="52917" y="65902"/>
                </a:lnTo>
                <a:lnTo>
                  <a:pt x="52646" y="67015"/>
                </a:lnTo>
                <a:lnTo>
                  <a:pt x="52498" y="68154"/>
                </a:lnTo>
                <a:lnTo>
                  <a:pt x="52424" y="69267"/>
                </a:lnTo>
                <a:lnTo>
                  <a:pt x="52424" y="70431"/>
                </a:lnTo>
                <a:lnTo>
                  <a:pt x="52547" y="71495"/>
                </a:lnTo>
                <a:lnTo>
                  <a:pt x="52794" y="72534"/>
                </a:lnTo>
                <a:lnTo>
                  <a:pt x="53163" y="73524"/>
                </a:lnTo>
                <a:lnTo>
                  <a:pt x="53680" y="74415"/>
                </a:lnTo>
                <a:lnTo>
                  <a:pt x="54567" y="75504"/>
                </a:lnTo>
                <a:lnTo>
                  <a:pt x="55454" y="76370"/>
                </a:lnTo>
                <a:lnTo>
                  <a:pt x="56415" y="77013"/>
                </a:lnTo>
                <a:lnTo>
                  <a:pt x="57376" y="77385"/>
                </a:lnTo>
                <a:lnTo>
                  <a:pt x="58460" y="77558"/>
                </a:lnTo>
                <a:lnTo>
                  <a:pt x="59519" y="77533"/>
                </a:lnTo>
                <a:lnTo>
                  <a:pt x="60702" y="77310"/>
                </a:lnTo>
                <a:lnTo>
                  <a:pt x="61933" y="76865"/>
                </a:lnTo>
                <a:lnTo>
                  <a:pt x="63264" y="76221"/>
                </a:lnTo>
                <a:lnTo>
                  <a:pt x="64668" y="75380"/>
                </a:lnTo>
                <a:lnTo>
                  <a:pt x="66146" y="74390"/>
                </a:lnTo>
                <a:lnTo>
                  <a:pt x="67476" y="73375"/>
                </a:lnTo>
                <a:lnTo>
                  <a:pt x="68659" y="72410"/>
                </a:lnTo>
                <a:lnTo>
                  <a:pt x="69644" y="71470"/>
                </a:lnTo>
                <a:lnTo>
                  <a:pt x="70457" y="70530"/>
                </a:lnTo>
                <a:lnTo>
                  <a:pt x="71098" y="69564"/>
                </a:lnTo>
                <a:lnTo>
                  <a:pt x="71541" y="68649"/>
                </a:lnTo>
                <a:lnTo>
                  <a:pt x="71788" y="67684"/>
                </a:lnTo>
                <a:lnTo>
                  <a:pt x="71911" y="66718"/>
                </a:lnTo>
                <a:lnTo>
                  <a:pt x="71788" y="65729"/>
                </a:lnTo>
                <a:lnTo>
                  <a:pt x="71467" y="64714"/>
                </a:lnTo>
                <a:lnTo>
                  <a:pt x="70975" y="63650"/>
                </a:lnTo>
                <a:lnTo>
                  <a:pt x="70285" y="62586"/>
                </a:lnTo>
                <a:lnTo>
                  <a:pt x="69620" y="61794"/>
                </a:lnTo>
                <a:lnTo>
                  <a:pt x="68831" y="61126"/>
                </a:lnTo>
                <a:lnTo>
                  <a:pt x="67920" y="60532"/>
                </a:lnTo>
                <a:lnTo>
                  <a:pt x="66959" y="60111"/>
                </a:lnTo>
                <a:lnTo>
                  <a:pt x="65875" y="59690"/>
                </a:lnTo>
                <a:lnTo>
                  <a:pt x="64766" y="59443"/>
                </a:lnTo>
                <a:lnTo>
                  <a:pt x="63658" y="59220"/>
                </a:lnTo>
                <a:lnTo>
                  <a:pt x="62525" y="59071"/>
                </a:lnTo>
                <a:lnTo>
                  <a:pt x="61416" y="58997"/>
                </a:lnTo>
                <a:lnTo>
                  <a:pt x="60332" y="58948"/>
                </a:lnTo>
                <a:close/>
                <a:moveTo>
                  <a:pt x="45009" y="38333"/>
                </a:moveTo>
                <a:lnTo>
                  <a:pt x="43802" y="38457"/>
                </a:lnTo>
                <a:lnTo>
                  <a:pt x="42644" y="38779"/>
                </a:lnTo>
                <a:lnTo>
                  <a:pt x="41584" y="39274"/>
                </a:lnTo>
                <a:lnTo>
                  <a:pt x="40648" y="39942"/>
                </a:lnTo>
                <a:lnTo>
                  <a:pt x="39835" y="40758"/>
                </a:lnTo>
                <a:lnTo>
                  <a:pt x="39170" y="41699"/>
                </a:lnTo>
                <a:lnTo>
                  <a:pt x="38653" y="42738"/>
                </a:lnTo>
                <a:lnTo>
                  <a:pt x="38357" y="43901"/>
                </a:lnTo>
                <a:lnTo>
                  <a:pt x="38259" y="45114"/>
                </a:lnTo>
                <a:lnTo>
                  <a:pt x="38357" y="46327"/>
                </a:lnTo>
                <a:lnTo>
                  <a:pt x="38653" y="47490"/>
                </a:lnTo>
                <a:lnTo>
                  <a:pt x="39170" y="48529"/>
                </a:lnTo>
                <a:lnTo>
                  <a:pt x="39835" y="49469"/>
                </a:lnTo>
                <a:lnTo>
                  <a:pt x="40648" y="50286"/>
                </a:lnTo>
                <a:lnTo>
                  <a:pt x="41584" y="50954"/>
                </a:lnTo>
                <a:lnTo>
                  <a:pt x="42644" y="51449"/>
                </a:lnTo>
                <a:lnTo>
                  <a:pt x="43802" y="51771"/>
                </a:lnTo>
                <a:lnTo>
                  <a:pt x="45009" y="51895"/>
                </a:lnTo>
                <a:lnTo>
                  <a:pt x="46241" y="51771"/>
                </a:lnTo>
                <a:lnTo>
                  <a:pt x="47374" y="51449"/>
                </a:lnTo>
                <a:lnTo>
                  <a:pt x="48408" y="50954"/>
                </a:lnTo>
                <a:lnTo>
                  <a:pt x="49320" y="50286"/>
                </a:lnTo>
                <a:lnTo>
                  <a:pt x="50133" y="49469"/>
                </a:lnTo>
                <a:lnTo>
                  <a:pt x="50798" y="48529"/>
                </a:lnTo>
                <a:lnTo>
                  <a:pt x="51315" y="47490"/>
                </a:lnTo>
                <a:lnTo>
                  <a:pt x="51611" y="46327"/>
                </a:lnTo>
                <a:lnTo>
                  <a:pt x="51734" y="45114"/>
                </a:lnTo>
                <a:lnTo>
                  <a:pt x="51611" y="43901"/>
                </a:lnTo>
                <a:lnTo>
                  <a:pt x="51315" y="42738"/>
                </a:lnTo>
                <a:lnTo>
                  <a:pt x="50798" y="41699"/>
                </a:lnTo>
                <a:lnTo>
                  <a:pt x="50133" y="40758"/>
                </a:lnTo>
                <a:lnTo>
                  <a:pt x="49320" y="39942"/>
                </a:lnTo>
                <a:lnTo>
                  <a:pt x="48408" y="39274"/>
                </a:lnTo>
                <a:lnTo>
                  <a:pt x="47374" y="38779"/>
                </a:lnTo>
                <a:lnTo>
                  <a:pt x="46241" y="38457"/>
                </a:lnTo>
                <a:lnTo>
                  <a:pt x="45009" y="38333"/>
                </a:lnTo>
                <a:close/>
                <a:moveTo>
                  <a:pt x="71172" y="26677"/>
                </a:moveTo>
                <a:lnTo>
                  <a:pt x="69989" y="26826"/>
                </a:lnTo>
                <a:lnTo>
                  <a:pt x="68733" y="27172"/>
                </a:lnTo>
                <a:lnTo>
                  <a:pt x="67723" y="27618"/>
                </a:lnTo>
                <a:lnTo>
                  <a:pt x="66811" y="28236"/>
                </a:lnTo>
                <a:lnTo>
                  <a:pt x="65949" y="28979"/>
                </a:lnTo>
                <a:lnTo>
                  <a:pt x="65185" y="29870"/>
                </a:lnTo>
                <a:lnTo>
                  <a:pt x="64471" y="30859"/>
                </a:lnTo>
                <a:lnTo>
                  <a:pt x="63855" y="31899"/>
                </a:lnTo>
                <a:lnTo>
                  <a:pt x="63288" y="33012"/>
                </a:lnTo>
                <a:lnTo>
                  <a:pt x="62845" y="34126"/>
                </a:lnTo>
                <a:lnTo>
                  <a:pt x="62451" y="35190"/>
                </a:lnTo>
                <a:lnTo>
                  <a:pt x="62155" y="36279"/>
                </a:lnTo>
                <a:lnTo>
                  <a:pt x="61884" y="37269"/>
                </a:lnTo>
                <a:lnTo>
                  <a:pt x="61736" y="38185"/>
                </a:lnTo>
                <a:lnTo>
                  <a:pt x="61662" y="39001"/>
                </a:lnTo>
                <a:lnTo>
                  <a:pt x="61662" y="39670"/>
                </a:lnTo>
                <a:lnTo>
                  <a:pt x="61786" y="40189"/>
                </a:lnTo>
                <a:lnTo>
                  <a:pt x="62007" y="40635"/>
                </a:lnTo>
                <a:lnTo>
                  <a:pt x="62377" y="41204"/>
                </a:lnTo>
                <a:lnTo>
                  <a:pt x="62894" y="41773"/>
                </a:lnTo>
                <a:lnTo>
                  <a:pt x="63559" y="42441"/>
                </a:lnTo>
                <a:lnTo>
                  <a:pt x="64323" y="43109"/>
                </a:lnTo>
                <a:lnTo>
                  <a:pt x="65210" y="43827"/>
                </a:lnTo>
                <a:lnTo>
                  <a:pt x="66171" y="44446"/>
                </a:lnTo>
                <a:lnTo>
                  <a:pt x="67205" y="45064"/>
                </a:lnTo>
                <a:lnTo>
                  <a:pt x="68289" y="45658"/>
                </a:lnTo>
                <a:lnTo>
                  <a:pt x="69423" y="46153"/>
                </a:lnTo>
                <a:lnTo>
                  <a:pt x="70580" y="46525"/>
                </a:lnTo>
                <a:lnTo>
                  <a:pt x="71714" y="46772"/>
                </a:lnTo>
                <a:lnTo>
                  <a:pt x="72847" y="46896"/>
                </a:lnTo>
                <a:lnTo>
                  <a:pt x="73956" y="46846"/>
                </a:lnTo>
                <a:lnTo>
                  <a:pt x="75040" y="46599"/>
                </a:lnTo>
                <a:lnTo>
                  <a:pt x="76222" y="46153"/>
                </a:lnTo>
                <a:lnTo>
                  <a:pt x="77257" y="45584"/>
                </a:lnTo>
                <a:lnTo>
                  <a:pt x="78094" y="44965"/>
                </a:lnTo>
                <a:lnTo>
                  <a:pt x="78760" y="44223"/>
                </a:lnTo>
                <a:lnTo>
                  <a:pt x="79277" y="43406"/>
                </a:lnTo>
                <a:lnTo>
                  <a:pt x="79646" y="42491"/>
                </a:lnTo>
                <a:lnTo>
                  <a:pt x="79843" y="41451"/>
                </a:lnTo>
                <a:lnTo>
                  <a:pt x="79868" y="40338"/>
                </a:lnTo>
                <a:lnTo>
                  <a:pt x="79794" y="39076"/>
                </a:lnTo>
                <a:lnTo>
                  <a:pt x="79572" y="37739"/>
                </a:lnTo>
                <a:lnTo>
                  <a:pt x="79203" y="36279"/>
                </a:lnTo>
                <a:lnTo>
                  <a:pt x="78735" y="34671"/>
                </a:lnTo>
                <a:lnTo>
                  <a:pt x="78218" y="33136"/>
                </a:lnTo>
                <a:lnTo>
                  <a:pt x="77626" y="31726"/>
                </a:lnTo>
                <a:lnTo>
                  <a:pt x="76986" y="30464"/>
                </a:lnTo>
                <a:lnTo>
                  <a:pt x="76370" y="29424"/>
                </a:lnTo>
                <a:lnTo>
                  <a:pt x="75655" y="28533"/>
                </a:lnTo>
                <a:lnTo>
                  <a:pt x="74892" y="27791"/>
                </a:lnTo>
                <a:lnTo>
                  <a:pt x="74079" y="27271"/>
                </a:lnTo>
                <a:lnTo>
                  <a:pt x="73192" y="26900"/>
                </a:lnTo>
                <a:lnTo>
                  <a:pt x="72206" y="26727"/>
                </a:lnTo>
                <a:lnTo>
                  <a:pt x="71172" y="26677"/>
                </a:lnTo>
                <a:close/>
                <a:moveTo>
                  <a:pt x="18821" y="26677"/>
                </a:moveTo>
                <a:lnTo>
                  <a:pt x="17762" y="26727"/>
                </a:lnTo>
                <a:lnTo>
                  <a:pt x="16801" y="26900"/>
                </a:lnTo>
                <a:lnTo>
                  <a:pt x="15914" y="27271"/>
                </a:lnTo>
                <a:lnTo>
                  <a:pt x="15052" y="27791"/>
                </a:lnTo>
                <a:lnTo>
                  <a:pt x="14313" y="28533"/>
                </a:lnTo>
                <a:lnTo>
                  <a:pt x="13623" y="29424"/>
                </a:lnTo>
                <a:lnTo>
                  <a:pt x="12958" y="30464"/>
                </a:lnTo>
                <a:lnTo>
                  <a:pt x="12367" y="31726"/>
                </a:lnTo>
                <a:lnTo>
                  <a:pt x="11775" y="33136"/>
                </a:lnTo>
                <a:lnTo>
                  <a:pt x="11209" y="34671"/>
                </a:lnTo>
                <a:lnTo>
                  <a:pt x="10741" y="36279"/>
                </a:lnTo>
                <a:lnTo>
                  <a:pt x="10396" y="37739"/>
                </a:lnTo>
                <a:lnTo>
                  <a:pt x="10174" y="39076"/>
                </a:lnTo>
                <a:lnTo>
                  <a:pt x="10075" y="40338"/>
                </a:lnTo>
                <a:lnTo>
                  <a:pt x="10149" y="41451"/>
                </a:lnTo>
                <a:lnTo>
                  <a:pt x="10322" y="42491"/>
                </a:lnTo>
                <a:lnTo>
                  <a:pt x="10691" y="43406"/>
                </a:lnTo>
                <a:lnTo>
                  <a:pt x="11184" y="44223"/>
                </a:lnTo>
                <a:lnTo>
                  <a:pt x="11874" y="44965"/>
                </a:lnTo>
                <a:lnTo>
                  <a:pt x="12736" y="45584"/>
                </a:lnTo>
                <a:lnTo>
                  <a:pt x="13722" y="46153"/>
                </a:lnTo>
                <a:lnTo>
                  <a:pt x="14953" y="46599"/>
                </a:lnTo>
                <a:lnTo>
                  <a:pt x="16013" y="46846"/>
                </a:lnTo>
                <a:lnTo>
                  <a:pt x="17121" y="46896"/>
                </a:lnTo>
                <a:lnTo>
                  <a:pt x="18279" y="46772"/>
                </a:lnTo>
                <a:lnTo>
                  <a:pt x="19412" y="46525"/>
                </a:lnTo>
                <a:lnTo>
                  <a:pt x="20570" y="46153"/>
                </a:lnTo>
                <a:lnTo>
                  <a:pt x="21679" y="45658"/>
                </a:lnTo>
                <a:lnTo>
                  <a:pt x="22787" y="45064"/>
                </a:lnTo>
                <a:lnTo>
                  <a:pt x="23822" y="44446"/>
                </a:lnTo>
                <a:lnTo>
                  <a:pt x="24758" y="43827"/>
                </a:lnTo>
                <a:lnTo>
                  <a:pt x="25621" y="43109"/>
                </a:lnTo>
                <a:lnTo>
                  <a:pt x="26384" y="42441"/>
                </a:lnTo>
                <a:lnTo>
                  <a:pt x="27049" y="41773"/>
                </a:lnTo>
                <a:lnTo>
                  <a:pt x="27616" y="41204"/>
                </a:lnTo>
                <a:lnTo>
                  <a:pt x="27986" y="40635"/>
                </a:lnTo>
                <a:lnTo>
                  <a:pt x="28207" y="40189"/>
                </a:lnTo>
                <a:lnTo>
                  <a:pt x="28281" y="39670"/>
                </a:lnTo>
                <a:lnTo>
                  <a:pt x="28306" y="39001"/>
                </a:lnTo>
                <a:lnTo>
                  <a:pt x="28232" y="38185"/>
                </a:lnTo>
                <a:lnTo>
                  <a:pt x="28059" y="37269"/>
                </a:lnTo>
                <a:lnTo>
                  <a:pt x="27838" y="36279"/>
                </a:lnTo>
                <a:lnTo>
                  <a:pt x="27542" y="35190"/>
                </a:lnTo>
                <a:lnTo>
                  <a:pt x="27123" y="34126"/>
                </a:lnTo>
                <a:lnTo>
                  <a:pt x="26655" y="33012"/>
                </a:lnTo>
                <a:lnTo>
                  <a:pt x="26138" y="31899"/>
                </a:lnTo>
                <a:lnTo>
                  <a:pt x="25497" y="30859"/>
                </a:lnTo>
                <a:lnTo>
                  <a:pt x="24808" y="29870"/>
                </a:lnTo>
                <a:lnTo>
                  <a:pt x="24044" y="28979"/>
                </a:lnTo>
                <a:lnTo>
                  <a:pt x="23157" y="28236"/>
                </a:lnTo>
                <a:lnTo>
                  <a:pt x="22221" y="27618"/>
                </a:lnTo>
                <a:lnTo>
                  <a:pt x="21235" y="27172"/>
                </a:lnTo>
                <a:lnTo>
                  <a:pt x="19979" y="26826"/>
                </a:lnTo>
                <a:lnTo>
                  <a:pt x="18821" y="26677"/>
                </a:lnTo>
                <a:close/>
                <a:moveTo>
                  <a:pt x="86347" y="16951"/>
                </a:moveTo>
                <a:lnTo>
                  <a:pt x="88589" y="18362"/>
                </a:lnTo>
                <a:lnTo>
                  <a:pt x="90856" y="19847"/>
                </a:lnTo>
                <a:lnTo>
                  <a:pt x="93147" y="21356"/>
                </a:lnTo>
                <a:lnTo>
                  <a:pt x="95389" y="22940"/>
                </a:lnTo>
                <a:lnTo>
                  <a:pt x="97630" y="24623"/>
                </a:lnTo>
                <a:lnTo>
                  <a:pt x="99848" y="26306"/>
                </a:lnTo>
                <a:lnTo>
                  <a:pt x="101991" y="28088"/>
                </a:lnTo>
                <a:lnTo>
                  <a:pt x="104110" y="29894"/>
                </a:lnTo>
                <a:lnTo>
                  <a:pt x="106130" y="31800"/>
                </a:lnTo>
                <a:lnTo>
                  <a:pt x="108101" y="33705"/>
                </a:lnTo>
                <a:lnTo>
                  <a:pt x="109948" y="35685"/>
                </a:lnTo>
                <a:lnTo>
                  <a:pt x="111673" y="37665"/>
                </a:lnTo>
                <a:lnTo>
                  <a:pt x="113274" y="39744"/>
                </a:lnTo>
                <a:lnTo>
                  <a:pt x="114752" y="41847"/>
                </a:lnTo>
                <a:lnTo>
                  <a:pt x="116082" y="43976"/>
                </a:lnTo>
                <a:lnTo>
                  <a:pt x="117216" y="46153"/>
                </a:lnTo>
                <a:lnTo>
                  <a:pt x="118176" y="48331"/>
                </a:lnTo>
                <a:lnTo>
                  <a:pt x="118965" y="50583"/>
                </a:lnTo>
                <a:lnTo>
                  <a:pt x="119507" y="52835"/>
                </a:lnTo>
                <a:lnTo>
                  <a:pt x="119876" y="55137"/>
                </a:lnTo>
                <a:lnTo>
                  <a:pt x="120000" y="57438"/>
                </a:lnTo>
                <a:lnTo>
                  <a:pt x="119926" y="59764"/>
                </a:lnTo>
                <a:lnTo>
                  <a:pt x="119704" y="61992"/>
                </a:lnTo>
                <a:lnTo>
                  <a:pt x="119359" y="64095"/>
                </a:lnTo>
                <a:lnTo>
                  <a:pt x="118891" y="66050"/>
                </a:lnTo>
                <a:lnTo>
                  <a:pt x="118324" y="67931"/>
                </a:lnTo>
                <a:lnTo>
                  <a:pt x="117659" y="69713"/>
                </a:lnTo>
                <a:lnTo>
                  <a:pt x="116920" y="71420"/>
                </a:lnTo>
                <a:lnTo>
                  <a:pt x="116107" y="73004"/>
                </a:lnTo>
                <a:lnTo>
                  <a:pt x="115294" y="74563"/>
                </a:lnTo>
                <a:lnTo>
                  <a:pt x="114407" y="76048"/>
                </a:lnTo>
                <a:lnTo>
                  <a:pt x="113496" y="77484"/>
                </a:lnTo>
                <a:lnTo>
                  <a:pt x="112560" y="78869"/>
                </a:lnTo>
                <a:lnTo>
                  <a:pt x="111673" y="80230"/>
                </a:lnTo>
                <a:lnTo>
                  <a:pt x="110786" y="81567"/>
                </a:lnTo>
                <a:lnTo>
                  <a:pt x="109948" y="82854"/>
                </a:lnTo>
                <a:lnTo>
                  <a:pt x="109135" y="84141"/>
                </a:lnTo>
                <a:lnTo>
                  <a:pt x="108347" y="85452"/>
                </a:lnTo>
                <a:lnTo>
                  <a:pt x="107657" y="86789"/>
                </a:lnTo>
                <a:lnTo>
                  <a:pt x="106992" y="88100"/>
                </a:lnTo>
                <a:lnTo>
                  <a:pt x="106425" y="89511"/>
                </a:lnTo>
                <a:lnTo>
                  <a:pt x="105908" y="90996"/>
                </a:lnTo>
                <a:lnTo>
                  <a:pt x="105538" y="92505"/>
                </a:lnTo>
                <a:lnTo>
                  <a:pt x="105243" y="94138"/>
                </a:lnTo>
                <a:lnTo>
                  <a:pt x="105070" y="95846"/>
                </a:lnTo>
                <a:lnTo>
                  <a:pt x="104996" y="97653"/>
                </a:lnTo>
                <a:lnTo>
                  <a:pt x="105095" y="98989"/>
                </a:lnTo>
                <a:lnTo>
                  <a:pt x="105366" y="100276"/>
                </a:lnTo>
                <a:lnTo>
                  <a:pt x="105760" y="101464"/>
                </a:lnTo>
                <a:lnTo>
                  <a:pt x="106327" y="102577"/>
                </a:lnTo>
                <a:lnTo>
                  <a:pt x="106943" y="103617"/>
                </a:lnTo>
                <a:lnTo>
                  <a:pt x="107731" y="104582"/>
                </a:lnTo>
                <a:lnTo>
                  <a:pt x="108544" y="105473"/>
                </a:lnTo>
                <a:lnTo>
                  <a:pt x="109382" y="106240"/>
                </a:lnTo>
                <a:lnTo>
                  <a:pt x="110268" y="106982"/>
                </a:lnTo>
                <a:lnTo>
                  <a:pt x="111205" y="107651"/>
                </a:lnTo>
                <a:lnTo>
                  <a:pt x="112091" y="108244"/>
                </a:lnTo>
                <a:lnTo>
                  <a:pt x="112978" y="108789"/>
                </a:lnTo>
                <a:lnTo>
                  <a:pt x="113791" y="109234"/>
                </a:lnTo>
                <a:lnTo>
                  <a:pt x="114555" y="109606"/>
                </a:lnTo>
                <a:lnTo>
                  <a:pt x="115220" y="109927"/>
                </a:lnTo>
                <a:lnTo>
                  <a:pt x="115787" y="110150"/>
                </a:lnTo>
                <a:lnTo>
                  <a:pt x="116181" y="110348"/>
                </a:lnTo>
                <a:lnTo>
                  <a:pt x="116477" y="110447"/>
                </a:lnTo>
                <a:lnTo>
                  <a:pt x="116600" y="110497"/>
                </a:lnTo>
                <a:lnTo>
                  <a:pt x="113422" y="120000"/>
                </a:lnTo>
                <a:lnTo>
                  <a:pt x="113274" y="119925"/>
                </a:lnTo>
                <a:lnTo>
                  <a:pt x="112904" y="119826"/>
                </a:lnTo>
                <a:lnTo>
                  <a:pt x="112412" y="119628"/>
                </a:lnTo>
                <a:lnTo>
                  <a:pt x="111796" y="119381"/>
                </a:lnTo>
                <a:lnTo>
                  <a:pt x="111057" y="119034"/>
                </a:lnTo>
                <a:lnTo>
                  <a:pt x="110244" y="118663"/>
                </a:lnTo>
                <a:lnTo>
                  <a:pt x="109308" y="118193"/>
                </a:lnTo>
                <a:lnTo>
                  <a:pt x="108322" y="117673"/>
                </a:lnTo>
                <a:lnTo>
                  <a:pt x="107288" y="117055"/>
                </a:lnTo>
                <a:lnTo>
                  <a:pt x="106179" y="116386"/>
                </a:lnTo>
                <a:lnTo>
                  <a:pt x="105070" y="115594"/>
                </a:lnTo>
                <a:lnTo>
                  <a:pt x="103912" y="114753"/>
                </a:lnTo>
                <a:lnTo>
                  <a:pt x="102804" y="113813"/>
                </a:lnTo>
                <a:lnTo>
                  <a:pt x="101695" y="112823"/>
                </a:lnTo>
                <a:lnTo>
                  <a:pt x="100636" y="111709"/>
                </a:lnTo>
                <a:lnTo>
                  <a:pt x="99601" y="110521"/>
                </a:lnTo>
                <a:lnTo>
                  <a:pt x="98640" y="109234"/>
                </a:lnTo>
                <a:lnTo>
                  <a:pt x="97778" y="107873"/>
                </a:lnTo>
                <a:lnTo>
                  <a:pt x="96965" y="106413"/>
                </a:lnTo>
                <a:lnTo>
                  <a:pt x="96325" y="104879"/>
                </a:lnTo>
                <a:lnTo>
                  <a:pt x="95758" y="103196"/>
                </a:lnTo>
                <a:lnTo>
                  <a:pt x="95364" y="101464"/>
                </a:lnTo>
                <a:lnTo>
                  <a:pt x="95093" y="99608"/>
                </a:lnTo>
                <a:lnTo>
                  <a:pt x="94994" y="97653"/>
                </a:lnTo>
                <a:lnTo>
                  <a:pt x="95068" y="95425"/>
                </a:lnTo>
                <a:lnTo>
                  <a:pt x="95290" y="93371"/>
                </a:lnTo>
                <a:lnTo>
                  <a:pt x="95610" y="91392"/>
                </a:lnTo>
                <a:lnTo>
                  <a:pt x="96029" y="89560"/>
                </a:lnTo>
                <a:lnTo>
                  <a:pt x="96571" y="87803"/>
                </a:lnTo>
                <a:lnTo>
                  <a:pt x="97162" y="86145"/>
                </a:lnTo>
                <a:lnTo>
                  <a:pt x="97852" y="84561"/>
                </a:lnTo>
                <a:lnTo>
                  <a:pt x="98640" y="83052"/>
                </a:lnTo>
                <a:lnTo>
                  <a:pt x="99404" y="81567"/>
                </a:lnTo>
                <a:lnTo>
                  <a:pt x="100266" y="80156"/>
                </a:lnTo>
                <a:lnTo>
                  <a:pt x="101153" y="78746"/>
                </a:lnTo>
                <a:lnTo>
                  <a:pt x="102040" y="77409"/>
                </a:lnTo>
                <a:lnTo>
                  <a:pt x="102952" y="76073"/>
                </a:lnTo>
                <a:lnTo>
                  <a:pt x="103839" y="74712"/>
                </a:lnTo>
                <a:lnTo>
                  <a:pt x="104725" y="73375"/>
                </a:lnTo>
                <a:lnTo>
                  <a:pt x="105538" y="72039"/>
                </a:lnTo>
                <a:lnTo>
                  <a:pt x="106351" y="70653"/>
                </a:lnTo>
                <a:lnTo>
                  <a:pt x="107140" y="69243"/>
                </a:lnTo>
                <a:lnTo>
                  <a:pt x="107830" y="67758"/>
                </a:lnTo>
                <a:lnTo>
                  <a:pt x="108421" y="66248"/>
                </a:lnTo>
                <a:lnTo>
                  <a:pt x="108987" y="64640"/>
                </a:lnTo>
                <a:lnTo>
                  <a:pt x="109382" y="62982"/>
                </a:lnTo>
                <a:lnTo>
                  <a:pt x="109726" y="61249"/>
                </a:lnTo>
                <a:lnTo>
                  <a:pt x="109948" y="59393"/>
                </a:lnTo>
                <a:lnTo>
                  <a:pt x="109973" y="57438"/>
                </a:lnTo>
                <a:lnTo>
                  <a:pt x="109874" y="55656"/>
                </a:lnTo>
                <a:lnTo>
                  <a:pt x="109505" y="53875"/>
                </a:lnTo>
                <a:lnTo>
                  <a:pt x="108913" y="52117"/>
                </a:lnTo>
                <a:lnTo>
                  <a:pt x="108125" y="50286"/>
                </a:lnTo>
                <a:lnTo>
                  <a:pt x="107140" y="48480"/>
                </a:lnTo>
                <a:lnTo>
                  <a:pt x="105957" y="46698"/>
                </a:lnTo>
                <a:lnTo>
                  <a:pt x="104627" y="44891"/>
                </a:lnTo>
                <a:lnTo>
                  <a:pt x="103149" y="43109"/>
                </a:lnTo>
                <a:lnTo>
                  <a:pt x="101474" y="41328"/>
                </a:lnTo>
                <a:lnTo>
                  <a:pt x="99749" y="39595"/>
                </a:lnTo>
                <a:lnTo>
                  <a:pt x="97852" y="37863"/>
                </a:lnTo>
                <a:lnTo>
                  <a:pt x="95906" y="36155"/>
                </a:lnTo>
                <a:lnTo>
                  <a:pt x="93836" y="34497"/>
                </a:lnTo>
                <a:lnTo>
                  <a:pt x="93073" y="31354"/>
                </a:lnTo>
                <a:lnTo>
                  <a:pt x="92112" y="28286"/>
                </a:lnTo>
                <a:lnTo>
                  <a:pt x="90929" y="25291"/>
                </a:lnTo>
                <a:lnTo>
                  <a:pt x="89550" y="22396"/>
                </a:lnTo>
                <a:lnTo>
                  <a:pt x="88047" y="19624"/>
                </a:lnTo>
                <a:lnTo>
                  <a:pt x="86347" y="16951"/>
                </a:lnTo>
                <a:close/>
                <a:moveTo>
                  <a:pt x="45009" y="8785"/>
                </a:moveTo>
                <a:lnTo>
                  <a:pt x="43358" y="8810"/>
                </a:lnTo>
                <a:lnTo>
                  <a:pt x="41831" y="8958"/>
                </a:lnTo>
                <a:lnTo>
                  <a:pt x="40476" y="9156"/>
                </a:lnTo>
                <a:lnTo>
                  <a:pt x="39244" y="9453"/>
                </a:lnTo>
                <a:lnTo>
                  <a:pt x="38209" y="9849"/>
                </a:lnTo>
                <a:lnTo>
                  <a:pt x="37298" y="10344"/>
                </a:lnTo>
                <a:lnTo>
                  <a:pt x="36509" y="10963"/>
                </a:lnTo>
                <a:lnTo>
                  <a:pt x="35894" y="11705"/>
                </a:lnTo>
                <a:lnTo>
                  <a:pt x="35401" y="12546"/>
                </a:lnTo>
                <a:lnTo>
                  <a:pt x="35081" y="13586"/>
                </a:lnTo>
                <a:lnTo>
                  <a:pt x="34859" y="14724"/>
                </a:lnTo>
                <a:lnTo>
                  <a:pt x="34810" y="16036"/>
                </a:lnTo>
                <a:lnTo>
                  <a:pt x="34884" y="17026"/>
                </a:lnTo>
                <a:lnTo>
                  <a:pt x="35154" y="18065"/>
                </a:lnTo>
                <a:lnTo>
                  <a:pt x="35549" y="19030"/>
                </a:lnTo>
                <a:lnTo>
                  <a:pt x="36115" y="19995"/>
                </a:lnTo>
                <a:lnTo>
                  <a:pt x="36731" y="20911"/>
                </a:lnTo>
                <a:lnTo>
                  <a:pt x="37470" y="21802"/>
                </a:lnTo>
                <a:lnTo>
                  <a:pt x="38259" y="22619"/>
                </a:lnTo>
                <a:lnTo>
                  <a:pt x="39096" y="23386"/>
                </a:lnTo>
                <a:lnTo>
                  <a:pt x="39958" y="24103"/>
                </a:lnTo>
                <a:lnTo>
                  <a:pt x="40845" y="24772"/>
                </a:lnTo>
                <a:lnTo>
                  <a:pt x="41683" y="25316"/>
                </a:lnTo>
                <a:lnTo>
                  <a:pt x="42496" y="25762"/>
                </a:lnTo>
                <a:lnTo>
                  <a:pt x="43284" y="26157"/>
                </a:lnTo>
                <a:lnTo>
                  <a:pt x="43949" y="26430"/>
                </a:lnTo>
                <a:lnTo>
                  <a:pt x="44541" y="26603"/>
                </a:lnTo>
                <a:lnTo>
                  <a:pt x="45009" y="26677"/>
                </a:lnTo>
                <a:lnTo>
                  <a:pt x="45452" y="26603"/>
                </a:lnTo>
                <a:lnTo>
                  <a:pt x="46043" y="26430"/>
                </a:lnTo>
                <a:lnTo>
                  <a:pt x="46709" y="26157"/>
                </a:lnTo>
                <a:lnTo>
                  <a:pt x="47497" y="25762"/>
                </a:lnTo>
                <a:lnTo>
                  <a:pt x="48285" y="25316"/>
                </a:lnTo>
                <a:lnTo>
                  <a:pt x="49148" y="24772"/>
                </a:lnTo>
                <a:lnTo>
                  <a:pt x="50034" y="24103"/>
                </a:lnTo>
                <a:lnTo>
                  <a:pt x="50872" y="23386"/>
                </a:lnTo>
                <a:lnTo>
                  <a:pt x="51734" y="22619"/>
                </a:lnTo>
                <a:lnTo>
                  <a:pt x="52498" y="21802"/>
                </a:lnTo>
                <a:lnTo>
                  <a:pt x="53237" y="20911"/>
                </a:lnTo>
                <a:lnTo>
                  <a:pt x="53878" y="19995"/>
                </a:lnTo>
                <a:lnTo>
                  <a:pt x="54420" y="19030"/>
                </a:lnTo>
                <a:lnTo>
                  <a:pt x="54838" y="18065"/>
                </a:lnTo>
                <a:lnTo>
                  <a:pt x="55085" y="17026"/>
                </a:lnTo>
                <a:lnTo>
                  <a:pt x="55159" y="16036"/>
                </a:lnTo>
                <a:lnTo>
                  <a:pt x="55085" y="14724"/>
                </a:lnTo>
                <a:lnTo>
                  <a:pt x="54912" y="13586"/>
                </a:lnTo>
                <a:lnTo>
                  <a:pt x="54567" y="12546"/>
                </a:lnTo>
                <a:lnTo>
                  <a:pt x="54099" y="11705"/>
                </a:lnTo>
                <a:lnTo>
                  <a:pt x="53459" y="10963"/>
                </a:lnTo>
                <a:lnTo>
                  <a:pt x="52695" y="10344"/>
                </a:lnTo>
                <a:lnTo>
                  <a:pt x="51759" y="9849"/>
                </a:lnTo>
                <a:lnTo>
                  <a:pt x="50724" y="9453"/>
                </a:lnTo>
                <a:lnTo>
                  <a:pt x="49517" y="9156"/>
                </a:lnTo>
                <a:lnTo>
                  <a:pt x="48162" y="8958"/>
                </a:lnTo>
                <a:lnTo>
                  <a:pt x="46684" y="8810"/>
                </a:lnTo>
                <a:lnTo>
                  <a:pt x="45009" y="8785"/>
                </a:lnTo>
                <a:close/>
                <a:moveTo>
                  <a:pt x="45009" y="0"/>
                </a:moveTo>
                <a:lnTo>
                  <a:pt x="48236" y="123"/>
                </a:lnTo>
                <a:lnTo>
                  <a:pt x="51365" y="494"/>
                </a:lnTo>
                <a:lnTo>
                  <a:pt x="54469" y="1014"/>
                </a:lnTo>
                <a:lnTo>
                  <a:pt x="57450" y="1781"/>
                </a:lnTo>
                <a:lnTo>
                  <a:pt x="60381" y="2722"/>
                </a:lnTo>
                <a:lnTo>
                  <a:pt x="63214" y="3860"/>
                </a:lnTo>
                <a:lnTo>
                  <a:pt x="65949" y="5196"/>
                </a:lnTo>
                <a:lnTo>
                  <a:pt x="68585" y="6706"/>
                </a:lnTo>
                <a:lnTo>
                  <a:pt x="71098" y="8364"/>
                </a:lnTo>
                <a:lnTo>
                  <a:pt x="73487" y="10195"/>
                </a:lnTo>
                <a:lnTo>
                  <a:pt x="75729" y="12175"/>
                </a:lnTo>
                <a:lnTo>
                  <a:pt x="77848" y="14303"/>
                </a:lnTo>
                <a:lnTo>
                  <a:pt x="79843" y="16580"/>
                </a:lnTo>
                <a:lnTo>
                  <a:pt x="81691" y="18956"/>
                </a:lnTo>
                <a:lnTo>
                  <a:pt x="83342" y="21480"/>
                </a:lnTo>
                <a:lnTo>
                  <a:pt x="84820" y="24128"/>
                </a:lnTo>
                <a:lnTo>
                  <a:pt x="86150" y="26875"/>
                </a:lnTo>
                <a:lnTo>
                  <a:pt x="87308" y="29696"/>
                </a:lnTo>
                <a:lnTo>
                  <a:pt x="88269" y="32641"/>
                </a:lnTo>
                <a:lnTo>
                  <a:pt x="89008" y="35636"/>
                </a:lnTo>
                <a:lnTo>
                  <a:pt x="89550" y="38754"/>
                </a:lnTo>
                <a:lnTo>
                  <a:pt x="89895" y="41897"/>
                </a:lnTo>
                <a:lnTo>
                  <a:pt x="89993" y="45114"/>
                </a:lnTo>
                <a:lnTo>
                  <a:pt x="89895" y="48331"/>
                </a:lnTo>
                <a:lnTo>
                  <a:pt x="89550" y="51474"/>
                </a:lnTo>
                <a:lnTo>
                  <a:pt x="89008" y="54592"/>
                </a:lnTo>
                <a:lnTo>
                  <a:pt x="88269" y="57587"/>
                </a:lnTo>
                <a:lnTo>
                  <a:pt x="87308" y="60507"/>
                </a:lnTo>
                <a:lnTo>
                  <a:pt x="86150" y="63353"/>
                </a:lnTo>
                <a:lnTo>
                  <a:pt x="84820" y="66100"/>
                </a:lnTo>
                <a:lnTo>
                  <a:pt x="83342" y="68723"/>
                </a:lnTo>
                <a:lnTo>
                  <a:pt x="81691" y="71247"/>
                </a:lnTo>
                <a:lnTo>
                  <a:pt x="79843" y="73648"/>
                </a:lnTo>
                <a:lnTo>
                  <a:pt x="77848" y="75900"/>
                </a:lnTo>
                <a:lnTo>
                  <a:pt x="75729" y="78053"/>
                </a:lnTo>
                <a:lnTo>
                  <a:pt x="73487" y="80008"/>
                </a:lnTo>
                <a:lnTo>
                  <a:pt x="71098" y="81864"/>
                </a:lnTo>
                <a:lnTo>
                  <a:pt x="68585" y="83522"/>
                </a:lnTo>
                <a:lnTo>
                  <a:pt x="65949" y="85031"/>
                </a:lnTo>
                <a:lnTo>
                  <a:pt x="63214" y="86343"/>
                </a:lnTo>
                <a:lnTo>
                  <a:pt x="60381" y="87481"/>
                </a:lnTo>
                <a:lnTo>
                  <a:pt x="57450" y="88447"/>
                </a:lnTo>
                <a:lnTo>
                  <a:pt x="54469" y="89189"/>
                </a:lnTo>
                <a:lnTo>
                  <a:pt x="51365" y="89733"/>
                </a:lnTo>
                <a:lnTo>
                  <a:pt x="48236" y="90080"/>
                </a:lnTo>
                <a:lnTo>
                  <a:pt x="45009" y="90179"/>
                </a:lnTo>
                <a:lnTo>
                  <a:pt x="41806" y="90080"/>
                </a:lnTo>
                <a:lnTo>
                  <a:pt x="38628" y="89733"/>
                </a:lnTo>
                <a:lnTo>
                  <a:pt x="35549" y="89189"/>
                </a:lnTo>
                <a:lnTo>
                  <a:pt x="32518" y="88447"/>
                </a:lnTo>
                <a:lnTo>
                  <a:pt x="29611" y="87481"/>
                </a:lnTo>
                <a:lnTo>
                  <a:pt x="26754" y="86343"/>
                </a:lnTo>
                <a:lnTo>
                  <a:pt x="24044" y="85031"/>
                </a:lnTo>
                <a:lnTo>
                  <a:pt x="21408" y="83522"/>
                </a:lnTo>
                <a:lnTo>
                  <a:pt x="18895" y="81864"/>
                </a:lnTo>
                <a:lnTo>
                  <a:pt x="16505" y="80008"/>
                </a:lnTo>
                <a:lnTo>
                  <a:pt x="14239" y="78053"/>
                </a:lnTo>
                <a:lnTo>
                  <a:pt x="12145" y="75900"/>
                </a:lnTo>
                <a:lnTo>
                  <a:pt x="10149" y="73648"/>
                </a:lnTo>
                <a:lnTo>
                  <a:pt x="8326" y="71247"/>
                </a:lnTo>
                <a:lnTo>
                  <a:pt x="6676" y="68723"/>
                </a:lnTo>
                <a:lnTo>
                  <a:pt x="5148" y="66100"/>
                </a:lnTo>
                <a:lnTo>
                  <a:pt x="3818" y="63353"/>
                </a:lnTo>
                <a:lnTo>
                  <a:pt x="2685" y="60507"/>
                </a:lnTo>
                <a:lnTo>
                  <a:pt x="1724" y="57587"/>
                </a:lnTo>
                <a:lnTo>
                  <a:pt x="985" y="54592"/>
                </a:lnTo>
                <a:lnTo>
                  <a:pt x="418" y="51474"/>
                </a:lnTo>
                <a:lnTo>
                  <a:pt x="98" y="48331"/>
                </a:lnTo>
                <a:lnTo>
                  <a:pt x="0" y="45114"/>
                </a:lnTo>
                <a:lnTo>
                  <a:pt x="98" y="41897"/>
                </a:lnTo>
                <a:lnTo>
                  <a:pt x="418" y="38754"/>
                </a:lnTo>
                <a:lnTo>
                  <a:pt x="985" y="35636"/>
                </a:lnTo>
                <a:lnTo>
                  <a:pt x="1724" y="32641"/>
                </a:lnTo>
                <a:lnTo>
                  <a:pt x="2685" y="29696"/>
                </a:lnTo>
                <a:lnTo>
                  <a:pt x="3818" y="26875"/>
                </a:lnTo>
                <a:lnTo>
                  <a:pt x="5148" y="24128"/>
                </a:lnTo>
                <a:lnTo>
                  <a:pt x="6676" y="21505"/>
                </a:lnTo>
                <a:lnTo>
                  <a:pt x="8326" y="18981"/>
                </a:lnTo>
                <a:lnTo>
                  <a:pt x="10149" y="16580"/>
                </a:lnTo>
                <a:lnTo>
                  <a:pt x="12145" y="14328"/>
                </a:lnTo>
                <a:lnTo>
                  <a:pt x="14239" y="12175"/>
                </a:lnTo>
                <a:lnTo>
                  <a:pt x="16505" y="10195"/>
                </a:lnTo>
                <a:lnTo>
                  <a:pt x="18895" y="8364"/>
                </a:lnTo>
                <a:lnTo>
                  <a:pt x="21408" y="6706"/>
                </a:lnTo>
                <a:lnTo>
                  <a:pt x="24044" y="5196"/>
                </a:lnTo>
                <a:lnTo>
                  <a:pt x="26754" y="3860"/>
                </a:lnTo>
                <a:lnTo>
                  <a:pt x="29611" y="2722"/>
                </a:lnTo>
                <a:lnTo>
                  <a:pt x="32518" y="1781"/>
                </a:lnTo>
                <a:lnTo>
                  <a:pt x="35549" y="1014"/>
                </a:lnTo>
                <a:lnTo>
                  <a:pt x="38628" y="494"/>
                </a:lnTo>
                <a:lnTo>
                  <a:pt x="41806" y="123"/>
                </a:lnTo>
                <a:lnTo>
                  <a:pt x="45009" y="0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endParaRPr sz="135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" name="Google Shape;226;p28"/>
          <p:cNvSpPr/>
          <p:nvPr/>
        </p:nvSpPr>
        <p:spPr>
          <a:xfrm>
            <a:off x="3368509" y="3871027"/>
            <a:ext cx="235280" cy="21498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93337" y="13322"/>
                </a:moveTo>
                <a:lnTo>
                  <a:pt x="91638" y="13423"/>
                </a:lnTo>
                <a:lnTo>
                  <a:pt x="90008" y="13728"/>
                </a:lnTo>
                <a:lnTo>
                  <a:pt x="88448" y="14203"/>
                </a:lnTo>
                <a:lnTo>
                  <a:pt x="86992" y="14881"/>
                </a:lnTo>
                <a:lnTo>
                  <a:pt x="85639" y="15694"/>
                </a:lnTo>
                <a:lnTo>
                  <a:pt x="84391" y="16644"/>
                </a:lnTo>
                <a:lnTo>
                  <a:pt x="83282" y="17728"/>
                </a:lnTo>
                <a:lnTo>
                  <a:pt x="82346" y="18983"/>
                </a:lnTo>
                <a:lnTo>
                  <a:pt x="81514" y="20338"/>
                </a:lnTo>
                <a:lnTo>
                  <a:pt x="80855" y="21796"/>
                </a:lnTo>
                <a:lnTo>
                  <a:pt x="80404" y="23355"/>
                </a:lnTo>
                <a:lnTo>
                  <a:pt x="80092" y="24983"/>
                </a:lnTo>
                <a:lnTo>
                  <a:pt x="80023" y="26677"/>
                </a:lnTo>
                <a:lnTo>
                  <a:pt x="80092" y="28372"/>
                </a:lnTo>
                <a:lnTo>
                  <a:pt x="80404" y="30033"/>
                </a:lnTo>
                <a:lnTo>
                  <a:pt x="80855" y="31593"/>
                </a:lnTo>
                <a:lnTo>
                  <a:pt x="81514" y="33016"/>
                </a:lnTo>
                <a:lnTo>
                  <a:pt x="82346" y="34372"/>
                </a:lnTo>
                <a:lnTo>
                  <a:pt x="83282" y="35627"/>
                </a:lnTo>
                <a:lnTo>
                  <a:pt x="84391" y="36711"/>
                </a:lnTo>
                <a:lnTo>
                  <a:pt x="85639" y="37661"/>
                </a:lnTo>
                <a:lnTo>
                  <a:pt x="86992" y="38474"/>
                </a:lnTo>
                <a:lnTo>
                  <a:pt x="88448" y="39118"/>
                </a:lnTo>
                <a:lnTo>
                  <a:pt x="90008" y="39593"/>
                </a:lnTo>
                <a:lnTo>
                  <a:pt x="91638" y="39898"/>
                </a:lnTo>
                <a:lnTo>
                  <a:pt x="93337" y="40000"/>
                </a:lnTo>
                <a:lnTo>
                  <a:pt x="95036" y="39898"/>
                </a:lnTo>
                <a:lnTo>
                  <a:pt x="96700" y="39593"/>
                </a:lnTo>
                <a:lnTo>
                  <a:pt x="98260" y="39118"/>
                </a:lnTo>
                <a:lnTo>
                  <a:pt x="99682" y="38474"/>
                </a:lnTo>
                <a:lnTo>
                  <a:pt x="101034" y="37661"/>
                </a:lnTo>
                <a:lnTo>
                  <a:pt x="102282" y="36711"/>
                </a:lnTo>
                <a:lnTo>
                  <a:pt x="103357" y="35627"/>
                </a:lnTo>
                <a:lnTo>
                  <a:pt x="104328" y="34372"/>
                </a:lnTo>
                <a:lnTo>
                  <a:pt x="105125" y="33016"/>
                </a:lnTo>
                <a:lnTo>
                  <a:pt x="105784" y="31593"/>
                </a:lnTo>
                <a:lnTo>
                  <a:pt x="106269" y="30033"/>
                </a:lnTo>
                <a:lnTo>
                  <a:pt x="106581" y="28372"/>
                </a:lnTo>
                <a:lnTo>
                  <a:pt x="106651" y="26677"/>
                </a:lnTo>
                <a:lnTo>
                  <a:pt x="106581" y="24983"/>
                </a:lnTo>
                <a:lnTo>
                  <a:pt x="106269" y="23355"/>
                </a:lnTo>
                <a:lnTo>
                  <a:pt x="105784" y="21796"/>
                </a:lnTo>
                <a:lnTo>
                  <a:pt x="105125" y="20338"/>
                </a:lnTo>
                <a:lnTo>
                  <a:pt x="104328" y="18983"/>
                </a:lnTo>
                <a:lnTo>
                  <a:pt x="103357" y="17728"/>
                </a:lnTo>
                <a:lnTo>
                  <a:pt x="102282" y="16644"/>
                </a:lnTo>
                <a:lnTo>
                  <a:pt x="101034" y="15694"/>
                </a:lnTo>
                <a:lnTo>
                  <a:pt x="99682" y="14881"/>
                </a:lnTo>
                <a:lnTo>
                  <a:pt x="98260" y="14203"/>
                </a:lnTo>
                <a:lnTo>
                  <a:pt x="96700" y="13728"/>
                </a:lnTo>
                <a:lnTo>
                  <a:pt x="95036" y="13423"/>
                </a:lnTo>
                <a:lnTo>
                  <a:pt x="93337" y="13322"/>
                </a:lnTo>
                <a:close/>
                <a:moveTo>
                  <a:pt x="82207" y="0"/>
                </a:moveTo>
                <a:lnTo>
                  <a:pt x="85189" y="135"/>
                </a:lnTo>
                <a:lnTo>
                  <a:pt x="88067" y="474"/>
                </a:lnTo>
                <a:lnTo>
                  <a:pt x="90875" y="1016"/>
                </a:lnTo>
                <a:lnTo>
                  <a:pt x="93649" y="1796"/>
                </a:lnTo>
                <a:lnTo>
                  <a:pt x="96318" y="2711"/>
                </a:lnTo>
                <a:lnTo>
                  <a:pt x="98850" y="3830"/>
                </a:lnTo>
                <a:lnTo>
                  <a:pt x="101311" y="5152"/>
                </a:lnTo>
                <a:lnTo>
                  <a:pt x="103634" y="6644"/>
                </a:lnTo>
                <a:lnTo>
                  <a:pt x="105888" y="8271"/>
                </a:lnTo>
                <a:lnTo>
                  <a:pt x="107968" y="10101"/>
                </a:lnTo>
                <a:lnTo>
                  <a:pt x="109910" y="12067"/>
                </a:lnTo>
                <a:lnTo>
                  <a:pt x="111713" y="14169"/>
                </a:lnTo>
                <a:lnTo>
                  <a:pt x="113377" y="16372"/>
                </a:lnTo>
                <a:lnTo>
                  <a:pt x="114868" y="18711"/>
                </a:lnTo>
                <a:lnTo>
                  <a:pt x="116186" y="21186"/>
                </a:lnTo>
                <a:lnTo>
                  <a:pt x="117295" y="23728"/>
                </a:lnTo>
                <a:lnTo>
                  <a:pt x="118266" y="26372"/>
                </a:lnTo>
                <a:lnTo>
                  <a:pt x="118994" y="29118"/>
                </a:lnTo>
                <a:lnTo>
                  <a:pt x="119583" y="31932"/>
                </a:lnTo>
                <a:lnTo>
                  <a:pt x="119895" y="34847"/>
                </a:lnTo>
                <a:lnTo>
                  <a:pt x="120000" y="37762"/>
                </a:lnTo>
                <a:lnTo>
                  <a:pt x="119895" y="40711"/>
                </a:lnTo>
                <a:lnTo>
                  <a:pt x="119583" y="43627"/>
                </a:lnTo>
                <a:lnTo>
                  <a:pt x="118994" y="46440"/>
                </a:lnTo>
                <a:lnTo>
                  <a:pt x="118266" y="49186"/>
                </a:lnTo>
                <a:lnTo>
                  <a:pt x="117295" y="51830"/>
                </a:lnTo>
                <a:lnTo>
                  <a:pt x="116186" y="54372"/>
                </a:lnTo>
                <a:lnTo>
                  <a:pt x="114868" y="56847"/>
                </a:lnTo>
                <a:lnTo>
                  <a:pt x="113377" y="59186"/>
                </a:lnTo>
                <a:lnTo>
                  <a:pt x="111713" y="61423"/>
                </a:lnTo>
                <a:lnTo>
                  <a:pt x="109910" y="63525"/>
                </a:lnTo>
                <a:lnTo>
                  <a:pt x="107968" y="65457"/>
                </a:lnTo>
                <a:lnTo>
                  <a:pt x="105888" y="67288"/>
                </a:lnTo>
                <a:lnTo>
                  <a:pt x="103634" y="68915"/>
                </a:lnTo>
                <a:lnTo>
                  <a:pt x="101311" y="70406"/>
                </a:lnTo>
                <a:lnTo>
                  <a:pt x="98850" y="71728"/>
                </a:lnTo>
                <a:lnTo>
                  <a:pt x="96318" y="72847"/>
                </a:lnTo>
                <a:lnTo>
                  <a:pt x="93649" y="73830"/>
                </a:lnTo>
                <a:lnTo>
                  <a:pt x="90875" y="74542"/>
                </a:lnTo>
                <a:lnTo>
                  <a:pt x="88067" y="75084"/>
                </a:lnTo>
                <a:lnTo>
                  <a:pt x="85189" y="75423"/>
                </a:lnTo>
                <a:lnTo>
                  <a:pt x="82207" y="75559"/>
                </a:lnTo>
                <a:lnTo>
                  <a:pt x="79815" y="75491"/>
                </a:lnTo>
                <a:lnTo>
                  <a:pt x="77492" y="75288"/>
                </a:lnTo>
                <a:lnTo>
                  <a:pt x="75238" y="74949"/>
                </a:lnTo>
                <a:lnTo>
                  <a:pt x="73054" y="74508"/>
                </a:lnTo>
                <a:lnTo>
                  <a:pt x="70904" y="73966"/>
                </a:lnTo>
                <a:lnTo>
                  <a:pt x="68893" y="73322"/>
                </a:lnTo>
                <a:lnTo>
                  <a:pt x="48887" y="93322"/>
                </a:lnTo>
                <a:lnTo>
                  <a:pt x="35538" y="93322"/>
                </a:lnTo>
                <a:lnTo>
                  <a:pt x="35538" y="106644"/>
                </a:lnTo>
                <a:lnTo>
                  <a:pt x="22224" y="106644"/>
                </a:lnTo>
                <a:lnTo>
                  <a:pt x="22224" y="120000"/>
                </a:lnTo>
                <a:lnTo>
                  <a:pt x="0" y="120000"/>
                </a:lnTo>
                <a:lnTo>
                  <a:pt x="0" y="97762"/>
                </a:lnTo>
                <a:lnTo>
                  <a:pt x="46668" y="51084"/>
                </a:lnTo>
                <a:lnTo>
                  <a:pt x="45940" y="48406"/>
                </a:lnTo>
                <a:lnTo>
                  <a:pt x="45316" y="45796"/>
                </a:lnTo>
                <a:lnTo>
                  <a:pt x="44830" y="43118"/>
                </a:lnTo>
                <a:lnTo>
                  <a:pt x="44518" y="40440"/>
                </a:lnTo>
                <a:lnTo>
                  <a:pt x="44449" y="37762"/>
                </a:lnTo>
                <a:lnTo>
                  <a:pt x="44518" y="34847"/>
                </a:lnTo>
                <a:lnTo>
                  <a:pt x="44900" y="31932"/>
                </a:lnTo>
                <a:lnTo>
                  <a:pt x="45420" y="29118"/>
                </a:lnTo>
                <a:lnTo>
                  <a:pt x="46183" y="26372"/>
                </a:lnTo>
                <a:lnTo>
                  <a:pt x="47119" y="23728"/>
                </a:lnTo>
                <a:lnTo>
                  <a:pt x="48298" y="21186"/>
                </a:lnTo>
                <a:lnTo>
                  <a:pt x="49615" y="18711"/>
                </a:lnTo>
                <a:lnTo>
                  <a:pt x="51071" y="16372"/>
                </a:lnTo>
                <a:lnTo>
                  <a:pt x="52736" y="14169"/>
                </a:lnTo>
                <a:lnTo>
                  <a:pt x="54539" y="12067"/>
                </a:lnTo>
                <a:lnTo>
                  <a:pt x="56515" y="10101"/>
                </a:lnTo>
                <a:lnTo>
                  <a:pt x="58595" y="8271"/>
                </a:lnTo>
                <a:lnTo>
                  <a:pt x="60814" y="6644"/>
                </a:lnTo>
                <a:lnTo>
                  <a:pt x="63137" y="5152"/>
                </a:lnTo>
                <a:lnTo>
                  <a:pt x="65599" y="3830"/>
                </a:lnTo>
                <a:lnTo>
                  <a:pt x="68165" y="2711"/>
                </a:lnTo>
                <a:lnTo>
                  <a:pt x="70835" y="1796"/>
                </a:lnTo>
                <a:lnTo>
                  <a:pt x="73539" y="1016"/>
                </a:lnTo>
                <a:lnTo>
                  <a:pt x="76382" y="474"/>
                </a:lnTo>
                <a:lnTo>
                  <a:pt x="79260" y="135"/>
                </a:lnTo>
                <a:lnTo>
                  <a:pt x="82207" y="0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endParaRPr sz="135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" name="Google Shape;227;p28"/>
          <p:cNvSpPr/>
          <p:nvPr/>
        </p:nvSpPr>
        <p:spPr>
          <a:xfrm>
            <a:off x="4455968" y="2782765"/>
            <a:ext cx="258442" cy="211016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9164" y="83374"/>
                </a:moveTo>
                <a:lnTo>
                  <a:pt x="9274" y="83520"/>
                </a:lnTo>
                <a:lnTo>
                  <a:pt x="9347" y="83666"/>
                </a:lnTo>
                <a:lnTo>
                  <a:pt x="9420" y="83813"/>
                </a:lnTo>
                <a:lnTo>
                  <a:pt x="9530" y="83959"/>
                </a:lnTo>
                <a:lnTo>
                  <a:pt x="10646" y="84893"/>
                </a:lnTo>
                <a:lnTo>
                  <a:pt x="11853" y="85698"/>
                </a:lnTo>
                <a:lnTo>
                  <a:pt x="13170" y="86357"/>
                </a:lnTo>
                <a:lnTo>
                  <a:pt x="14524" y="86796"/>
                </a:lnTo>
                <a:lnTo>
                  <a:pt x="15951" y="87089"/>
                </a:lnTo>
                <a:lnTo>
                  <a:pt x="15804" y="88151"/>
                </a:lnTo>
                <a:lnTo>
                  <a:pt x="15768" y="89249"/>
                </a:lnTo>
                <a:lnTo>
                  <a:pt x="15841" y="90951"/>
                </a:lnTo>
                <a:lnTo>
                  <a:pt x="16134" y="92599"/>
                </a:lnTo>
                <a:lnTo>
                  <a:pt x="16609" y="94209"/>
                </a:lnTo>
                <a:lnTo>
                  <a:pt x="17213" y="95729"/>
                </a:lnTo>
                <a:lnTo>
                  <a:pt x="18018" y="97193"/>
                </a:lnTo>
                <a:lnTo>
                  <a:pt x="19006" y="98584"/>
                </a:lnTo>
                <a:lnTo>
                  <a:pt x="20140" y="99865"/>
                </a:lnTo>
                <a:lnTo>
                  <a:pt x="21420" y="101000"/>
                </a:lnTo>
                <a:lnTo>
                  <a:pt x="22774" y="101970"/>
                </a:lnTo>
                <a:lnTo>
                  <a:pt x="24219" y="102776"/>
                </a:lnTo>
                <a:lnTo>
                  <a:pt x="25792" y="103398"/>
                </a:lnTo>
                <a:lnTo>
                  <a:pt x="27402" y="103874"/>
                </a:lnTo>
                <a:lnTo>
                  <a:pt x="29048" y="104167"/>
                </a:lnTo>
                <a:lnTo>
                  <a:pt x="30750" y="104240"/>
                </a:lnTo>
                <a:lnTo>
                  <a:pt x="31920" y="104167"/>
                </a:lnTo>
                <a:lnTo>
                  <a:pt x="33054" y="104020"/>
                </a:lnTo>
                <a:lnTo>
                  <a:pt x="33274" y="105192"/>
                </a:lnTo>
                <a:lnTo>
                  <a:pt x="33567" y="106327"/>
                </a:lnTo>
                <a:lnTo>
                  <a:pt x="34006" y="107443"/>
                </a:lnTo>
                <a:lnTo>
                  <a:pt x="34554" y="108505"/>
                </a:lnTo>
                <a:lnTo>
                  <a:pt x="35213" y="109493"/>
                </a:lnTo>
                <a:lnTo>
                  <a:pt x="36054" y="110445"/>
                </a:lnTo>
                <a:lnTo>
                  <a:pt x="36201" y="110591"/>
                </a:lnTo>
                <a:lnTo>
                  <a:pt x="36384" y="110701"/>
                </a:lnTo>
                <a:lnTo>
                  <a:pt x="36530" y="110848"/>
                </a:lnTo>
                <a:lnTo>
                  <a:pt x="0" y="120000"/>
                </a:lnTo>
                <a:lnTo>
                  <a:pt x="9164" y="83374"/>
                </a:lnTo>
                <a:close/>
                <a:moveTo>
                  <a:pt x="99676" y="41513"/>
                </a:moveTo>
                <a:lnTo>
                  <a:pt x="105000" y="46802"/>
                </a:lnTo>
                <a:lnTo>
                  <a:pt x="46664" y="105155"/>
                </a:lnTo>
                <a:lnTo>
                  <a:pt x="45969" y="105704"/>
                </a:lnTo>
                <a:lnTo>
                  <a:pt x="45237" y="106070"/>
                </a:lnTo>
                <a:lnTo>
                  <a:pt x="44396" y="106253"/>
                </a:lnTo>
                <a:lnTo>
                  <a:pt x="43591" y="106253"/>
                </a:lnTo>
                <a:lnTo>
                  <a:pt x="42804" y="106070"/>
                </a:lnTo>
                <a:lnTo>
                  <a:pt x="42036" y="105704"/>
                </a:lnTo>
                <a:lnTo>
                  <a:pt x="41378" y="105155"/>
                </a:lnTo>
                <a:lnTo>
                  <a:pt x="40829" y="104496"/>
                </a:lnTo>
                <a:lnTo>
                  <a:pt x="40463" y="103727"/>
                </a:lnTo>
                <a:lnTo>
                  <a:pt x="40280" y="102922"/>
                </a:lnTo>
                <a:lnTo>
                  <a:pt x="40280" y="102080"/>
                </a:lnTo>
                <a:lnTo>
                  <a:pt x="40463" y="101275"/>
                </a:lnTo>
                <a:lnTo>
                  <a:pt x="40829" y="100524"/>
                </a:lnTo>
                <a:lnTo>
                  <a:pt x="41378" y="99865"/>
                </a:lnTo>
                <a:lnTo>
                  <a:pt x="99676" y="41513"/>
                </a:lnTo>
                <a:close/>
                <a:moveTo>
                  <a:pt x="83762" y="25607"/>
                </a:moveTo>
                <a:lnTo>
                  <a:pt x="94390" y="36223"/>
                </a:lnTo>
                <a:lnTo>
                  <a:pt x="36054" y="94539"/>
                </a:lnTo>
                <a:lnTo>
                  <a:pt x="35140" y="95344"/>
                </a:lnTo>
                <a:lnTo>
                  <a:pt x="34115" y="95948"/>
                </a:lnTo>
                <a:lnTo>
                  <a:pt x="33018" y="96388"/>
                </a:lnTo>
                <a:lnTo>
                  <a:pt x="31884" y="96644"/>
                </a:lnTo>
                <a:lnTo>
                  <a:pt x="30750" y="96754"/>
                </a:lnTo>
                <a:lnTo>
                  <a:pt x="29597" y="96644"/>
                </a:lnTo>
                <a:lnTo>
                  <a:pt x="28463" y="96388"/>
                </a:lnTo>
                <a:lnTo>
                  <a:pt x="27402" y="95948"/>
                </a:lnTo>
                <a:lnTo>
                  <a:pt x="26378" y="95344"/>
                </a:lnTo>
                <a:lnTo>
                  <a:pt x="25426" y="94539"/>
                </a:lnTo>
                <a:lnTo>
                  <a:pt x="24658" y="93624"/>
                </a:lnTo>
                <a:lnTo>
                  <a:pt x="24036" y="92599"/>
                </a:lnTo>
                <a:lnTo>
                  <a:pt x="23597" y="91500"/>
                </a:lnTo>
                <a:lnTo>
                  <a:pt x="23359" y="90402"/>
                </a:lnTo>
                <a:lnTo>
                  <a:pt x="23250" y="89249"/>
                </a:lnTo>
                <a:lnTo>
                  <a:pt x="23359" y="88114"/>
                </a:lnTo>
                <a:lnTo>
                  <a:pt x="23597" y="86979"/>
                </a:lnTo>
                <a:lnTo>
                  <a:pt x="24036" y="85881"/>
                </a:lnTo>
                <a:lnTo>
                  <a:pt x="24658" y="84856"/>
                </a:lnTo>
                <a:lnTo>
                  <a:pt x="25426" y="83959"/>
                </a:lnTo>
                <a:lnTo>
                  <a:pt x="83762" y="25607"/>
                </a:lnTo>
                <a:close/>
                <a:moveTo>
                  <a:pt x="73189" y="14990"/>
                </a:moveTo>
                <a:lnTo>
                  <a:pt x="78475" y="20317"/>
                </a:lnTo>
                <a:lnTo>
                  <a:pt x="20140" y="78633"/>
                </a:lnTo>
                <a:lnTo>
                  <a:pt x="19445" y="79182"/>
                </a:lnTo>
                <a:lnTo>
                  <a:pt x="18713" y="79530"/>
                </a:lnTo>
                <a:lnTo>
                  <a:pt x="17908" y="79713"/>
                </a:lnTo>
                <a:lnTo>
                  <a:pt x="17067" y="79713"/>
                </a:lnTo>
                <a:lnTo>
                  <a:pt x="16280" y="79530"/>
                </a:lnTo>
                <a:lnTo>
                  <a:pt x="15512" y="79182"/>
                </a:lnTo>
                <a:lnTo>
                  <a:pt x="14853" y="78633"/>
                </a:lnTo>
                <a:lnTo>
                  <a:pt x="14304" y="77974"/>
                </a:lnTo>
                <a:lnTo>
                  <a:pt x="13939" y="77205"/>
                </a:lnTo>
                <a:lnTo>
                  <a:pt x="13756" y="76400"/>
                </a:lnTo>
                <a:lnTo>
                  <a:pt x="13756" y="75594"/>
                </a:lnTo>
                <a:lnTo>
                  <a:pt x="13939" y="74752"/>
                </a:lnTo>
                <a:lnTo>
                  <a:pt x="14304" y="74020"/>
                </a:lnTo>
                <a:lnTo>
                  <a:pt x="14853" y="73343"/>
                </a:lnTo>
                <a:lnTo>
                  <a:pt x="73189" y="14990"/>
                </a:lnTo>
                <a:close/>
                <a:moveTo>
                  <a:pt x="94390" y="0"/>
                </a:moveTo>
                <a:lnTo>
                  <a:pt x="96036" y="109"/>
                </a:lnTo>
                <a:lnTo>
                  <a:pt x="97664" y="366"/>
                </a:lnTo>
                <a:lnTo>
                  <a:pt x="99237" y="805"/>
                </a:lnTo>
                <a:lnTo>
                  <a:pt x="100810" y="1464"/>
                </a:lnTo>
                <a:lnTo>
                  <a:pt x="102310" y="2269"/>
                </a:lnTo>
                <a:lnTo>
                  <a:pt x="103682" y="3239"/>
                </a:lnTo>
                <a:lnTo>
                  <a:pt x="105000" y="4411"/>
                </a:lnTo>
                <a:lnTo>
                  <a:pt x="115628" y="14990"/>
                </a:lnTo>
                <a:lnTo>
                  <a:pt x="116762" y="16308"/>
                </a:lnTo>
                <a:lnTo>
                  <a:pt x="117731" y="17736"/>
                </a:lnTo>
                <a:lnTo>
                  <a:pt x="118573" y="19182"/>
                </a:lnTo>
                <a:lnTo>
                  <a:pt x="119195" y="20756"/>
                </a:lnTo>
                <a:lnTo>
                  <a:pt x="119634" y="22330"/>
                </a:lnTo>
                <a:lnTo>
                  <a:pt x="119890" y="23978"/>
                </a:lnTo>
                <a:lnTo>
                  <a:pt x="120000" y="25607"/>
                </a:lnTo>
                <a:lnTo>
                  <a:pt x="119890" y="27254"/>
                </a:lnTo>
                <a:lnTo>
                  <a:pt x="119634" y="28901"/>
                </a:lnTo>
                <a:lnTo>
                  <a:pt x="119195" y="30457"/>
                </a:lnTo>
                <a:lnTo>
                  <a:pt x="118573" y="32031"/>
                </a:lnTo>
                <a:lnTo>
                  <a:pt x="117731" y="33496"/>
                </a:lnTo>
                <a:lnTo>
                  <a:pt x="116762" y="34923"/>
                </a:lnTo>
                <a:lnTo>
                  <a:pt x="115628" y="36223"/>
                </a:lnTo>
                <a:lnTo>
                  <a:pt x="110286" y="41513"/>
                </a:lnTo>
                <a:lnTo>
                  <a:pt x="78475" y="9701"/>
                </a:lnTo>
                <a:lnTo>
                  <a:pt x="83762" y="4411"/>
                </a:lnTo>
                <a:lnTo>
                  <a:pt x="85079" y="3239"/>
                </a:lnTo>
                <a:lnTo>
                  <a:pt x="86506" y="2269"/>
                </a:lnTo>
                <a:lnTo>
                  <a:pt x="87969" y="1464"/>
                </a:lnTo>
                <a:lnTo>
                  <a:pt x="89542" y="805"/>
                </a:lnTo>
                <a:lnTo>
                  <a:pt x="91134" y="366"/>
                </a:lnTo>
                <a:lnTo>
                  <a:pt x="92743" y="109"/>
                </a:lnTo>
                <a:lnTo>
                  <a:pt x="94390" y="0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endParaRPr sz="135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00" name="Google Shape;228;p28"/>
          <p:cNvGrpSpPr/>
          <p:nvPr/>
        </p:nvGrpSpPr>
        <p:grpSpPr>
          <a:xfrm>
            <a:off x="5512049" y="3511055"/>
            <a:ext cx="344352" cy="213960"/>
            <a:chOff x="3735" y="834"/>
            <a:chExt cx="2118" cy="1316"/>
          </a:xfrm>
        </p:grpSpPr>
        <p:sp>
          <p:nvSpPr>
            <p:cNvPr id="101" name="Google Shape;229;p28"/>
            <p:cNvSpPr/>
            <p:nvPr/>
          </p:nvSpPr>
          <p:spPr>
            <a:xfrm>
              <a:off x="4195" y="1407"/>
              <a:ext cx="1202" cy="492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59550" y="0"/>
                  </a:moveTo>
                  <a:lnTo>
                    <a:pt x="63347" y="243"/>
                  </a:lnTo>
                  <a:lnTo>
                    <a:pt x="67044" y="852"/>
                  </a:lnTo>
                  <a:lnTo>
                    <a:pt x="70741" y="1827"/>
                  </a:lnTo>
                  <a:lnTo>
                    <a:pt x="74487" y="2923"/>
                  </a:lnTo>
                  <a:lnTo>
                    <a:pt x="78134" y="4507"/>
                  </a:lnTo>
                  <a:lnTo>
                    <a:pt x="81681" y="5969"/>
                  </a:lnTo>
                  <a:lnTo>
                    <a:pt x="85228" y="8040"/>
                  </a:lnTo>
                  <a:lnTo>
                    <a:pt x="88626" y="10111"/>
                  </a:lnTo>
                  <a:lnTo>
                    <a:pt x="91923" y="12304"/>
                  </a:lnTo>
                  <a:lnTo>
                    <a:pt x="95120" y="14619"/>
                  </a:lnTo>
                  <a:lnTo>
                    <a:pt x="98168" y="17055"/>
                  </a:lnTo>
                  <a:lnTo>
                    <a:pt x="101065" y="19370"/>
                  </a:lnTo>
                  <a:lnTo>
                    <a:pt x="103863" y="21928"/>
                  </a:lnTo>
                  <a:lnTo>
                    <a:pt x="106411" y="24243"/>
                  </a:lnTo>
                  <a:lnTo>
                    <a:pt x="108809" y="26436"/>
                  </a:lnTo>
                  <a:lnTo>
                    <a:pt x="111007" y="28873"/>
                  </a:lnTo>
                  <a:lnTo>
                    <a:pt x="113055" y="30822"/>
                  </a:lnTo>
                  <a:lnTo>
                    <a:pt x="114804" y="32771"/>
                  </a:lnTo>
                  <a:lnTo>
                    <a:pt x="116303" y="34477"/>
                  </a:lnTo>
                  <a:lnTo>
                    <a:pt x="117601" y="35939"/>
                  </a:lnTo>
                  <a:lnTo>
                    <a:pt x="118651" y="37157"/>
                  </a:lnTo>
                  <a:lnTo>
                    <a:pt x="119350" y="38131"/>
                  </a:lnTo>
                  <a:lnTo>
                    <a:pt x="119800" y="38619"/>
                  </a:lnTo>
                  <a:lnTo>
                    <a:pt x="120000" y="38741"/>
                  </a:lnTo>
                  <a:lnTo>
                    <a:pt x="120000" y="120000"/>
                  </a:lnTo>
                  <a:lnTo>
                    <a:pt x="119800" y="119756"/>
                  </a:lnTo>
                  <a:lnTo>
                    <a:pt x="119300" y="119269"/>
                  </a:lnTo>
                  <a:lnTo>
                    <a:pt x="118451" y="118538"/>
                  </a:lnTo>
                  <a:lnTo>
                    <a:pt x="117252" y="117441"/>
                  </a:lnTo>
                  <a:lnTo>
                    <a:pt x="115853" y="116223"/>
                  </a:lnTo>
                  <a:lnTo>
                    <a:pt x="114154" y="114639"/>
                  </a:lnTo>
                  <a:lnTo>
                    <a:pt x="112206" y="112812"/>
                  </a:lnTo>
                  <a:lnTo>
                    <a:pt x="109958" y="111106"/>
                  </a:lnTo>
                  <a:lnTo>
                    <a:pt x="107510" y="109035"/>
                  </a:lnTo>
                  <a:lnTo>
                    <a:pt x="104912" y="107208"/>
                  </a:lnTo>
                  <a:lnTo>
                    <a:pt x="102014" y="105137"/>
                  </a:lnTo>
                  <a:lnTo>
                    <a:pt x="99117" y="102944"/>
                  </a:lnTo>
                  <a:lnTo>
                    <a:pt x="95920" y="100873"/>
                  </a:lnTo>
                  <a:lnTo>
                    <a:pt x="92622" y="98802"/>
                  </a:lnTo>
                  <a:lnTo>
                    <a:pt x="89275" y="96974"/>
                  </a:lnTo>
                  <a:lnTo>
                    <a:pt x="85728" y="95025"/>
                  </a:lnTo>
                  <a:lnTo>
                    <a:pt x="82131" y="93563"/>
                  </a:lnTo>
                  <a:lnTo>
                    <a:pt x="78584" y="91979"/>
                  </a:lnTo>
                  <a:lnTo>
                    <a:pt x="74837" y="90639"/>
                  </a:lnTo>
                  <a:lnTo>
                    <a:pt x="71140" y="89543"/>
                  </a:lnTo>
                  <a:lnTo>
                    <a:pt x="67443" y="88812"/>
                  </a:lnTo>
                  <a:lnTo>
                    <a:pt x="63696" y="88203"/>
                  </a:lnTo>
                  <a:lnTo>
                    <a:pt x="60000" y="87959"/>
                  </a:lnTo>
                  <a:lnTo>
                    <a:pt x="56303" y="88203"/>
                  </a:lnTo>
                  <a:lnTo>
                    <a:pt x="52556" y="88812"/>
                  </a:lnTo>
                  <a:lnTo>
                    <a:pt x="48859" y="89543"/>
                  </a:lnTo>
                  <a:lnTo>
                    <a:pt x="45162" y="90639"/>
                  </a:lnTo>
                  <a:lnTo>
                    <a:pt x="41415" y="91979"/>
                  </a:lnTo>
                  <a:lnTo>
                    <a:pt x="37868" y="93563"/>
                  </a:lnTo>
                  <a:lnTo>
                    <a:pt x="34271" y="95025"/>
                  </a:lnTo>
                  <a:lnTo>
                    <a:pt x="30724" y="96974"/>
                  </a:lnTo>
                  <a:lnTo>
                    <a:pt x="27377" y="98802"/>
                  </a:lnTo>
                  <a:lnTo>
                    <a:pt x="24079" y="100873"/>
                  </a:lnTo>
                  <a:lnTo>
                    <a:pt x="20882" y="102944"/>
                  </a:lnTo>
                  <a:lnTo>
                    <a:pt x="17885" y="105137"/>
                  </a:lnTo>
                  <a:lnTo>
                    <a:pt x="15087" y="107208"/>
                  </a:lnTo>
                  <a:lnTo>
                    <a:pt x="12489" y="109035"/>
                  </a:lnTo>
                  <a:lnTo>
                    <a:pt x="10041" y="111106"/>
                  </a:lnTo>
                  <a:lnTo>
                    <a:pt x="7793" y="112812"/>
                  </a:lnTo>
                  <a:lnTo>
                    <a:pt x="5845" y="114639"/>
                  </a:lnTo>
                  <a:lnTo>
                    <a:pt x="4146" y="116223"/>
                  </a:lnTo>
                  <a:lnTo>
                    <a:pt x="2647" y="117441"/>
                  </a:lnTo>
                  <a:lnTo>
                    <a:pt x="1548" y="118538"/>
                  </a:lnTo>
                  <a:lnTo>
                    <a:pt x="699" y="119269"/>
                  </a:lnTo>
                  <a:lnTo>
                    <a:pt x="199" y="119756"/>
                  </a:lnTo>
                  <a:lnTo>
                    <a:pt x="0" y="120000"/>
                  </a:lnTo>
                  <a:lnTo>
                    <a:pt x="0" y="39959"/>
                  </a:lnTo>
                  <a:lnTo>
                    <a:pt x="99" y="39715"/>
                  </a:lnTo>
                  <a:lnTo>
                    <a:pt x="649" y="39106"/>
                  </a:lnTo>
                  <a:lnTo>
                    <a:pt x="1398" y="38131"/>
                  </a:lnTo>
                  <a:lnTo>
                    <a:pt x="2547" y="36670"/>
                  </a:lnTo>
                  <a:lnTo>
                    <a:pt x="3846" y="35086"/>
                  </a:lnTo>
                  <a:lnTo>
                    <a:pt x="5445" y="33258"/>
                  </a:lnTo>
                  <a:lnTo>
                    <a:pt x="7343" y="31187"/>
                  </a:lnTo>
                  <a:lnTo>
                    <a:pt x="9442" y="28873"/>
                  </a:lnTo>
                  <a:lnTo>
                    <a:pt x="11790" y="26436"/>
                  </a:lnTo>
                  <a:lnTo>
                    <a:pt x="14338" y="24000"/>
                  </a:lnTo>
                  <a:lnTo>
                    <a:pt x="16985" y="21319"/>
                  </a:lnTo>
                  <a:lnTo>
                    <a:pt x="19933" y="18761"/>
                  </a:lnTo>
                  <a:lnTo>
                    <a:pt x="22980" y="16081"/>
                  </a:lnTo>
                  <a:lnTo>
                    <a:pt x="26178" y="13522"/>
                  </a:lnTo>
                  <a:lnTo>
                    <a:pt x="29575" y="11208"/>
                  </a:lnTo>
                  <a:lnTo>
                    <a:pt x="33022" y="8893"/>
                  </a:lnTo>
                  <a:lnTo>
                    <a:pt x="36619" y="6822"/>
                  </a:lnTo>
                  <a:lnTo>
                    <a:pt x="40266" y="4873"/>
                  </a:lnTo>
                  <a:lnTo>
                    <a:pt x="44013" y="3167"/>
                  </a:lnTo>
                  <a:lnTo>
                    <a:pt x="47810" y="1949"/>
                  </a:lnTo>
                  <a:lnTo>
                    <a:pt x="51706" y="852"/>
                  </a:lnTo>
                  <a:lnTo>
                    <a:pt x="55653" y="243"/>
                  </a:lnTo>
                  <a:lnTo>
                    <a:pt x="5955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endParaRPr sz="135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2" name="Google Shape;230;p28"/>
            <p:cNvSpPr/>
            <p:nvPr/>
          </p:nvSpPr>
          <p:spPr>
            <a:xfrm>
              <a:off x="3735" y="834"/>
              <a:ext cx="2118" cy="1316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109065" y="50307"/>
                  </a:moveTo>
                  <a:lnTo>
                    <a:pt x="108328" y="50444"/>
                  </a:lnTo>
                  <a:lnTo>
                    <a:pt x="107620" y="50900"/>
                  </a:lnTo>
                  <a:lnTo>
                    <a:pt x="107082" y="51584"/>
                  </a:lnTo>
                  <a:lnTo>
                    <a:pt x="106628" y="52542"/>
                  </a:lnTo>
                  <a:lnTo>
                    <a:pt x="106345" y="53683"/>
                  </a:lnTo>
                  <a:lnTo>
                    <a:pt x="106232" y="54823"/>
                  </a:lnTo>
                  <a:lnTo>
                    <a:pt x="106345" y="56100"/>
                  </a:lnTo>
                  <a:lnTo>
                    <a:pt x="106628" y="57149"/>
                  </a:lnTo>
                  <a:lnTo>
                    <a:pt x="107082" y="58107"/>
                  </a:lnTo>
                  <a:lnTo>
                    <a:pt x="107620" y="58791"/>
                  </a:lnTo>
                  <a:lnTo>
                    <a:pt x="108328" y="59247"/>
                  </a:lnTo>
                  <a:lnTo>
                    <a:pt x="109065" y="59384"/>
                  </a:lnTo>
                  <a:lnTo>
                    <a:pt x="109858" y="59247"/>
                  </a:lnTo>
                  <a:lnTo>
                    <a:pt x="110538" y="58791"/>
                  </a:lnTo>
                  <a:lnTo>
                    <a:pt x="111104" y="58107"/>
                  </a:lnTo>
                  <a:lnTo>
                    <a:pt x="111558" y="57149"/>
                  </a:lnTo>
                  <a:lnTo>
                    <a:pt x="111841" y="56100"/>
                  </a:lnTo>
                  <a:lnTo>
                    <a:pt x="111954" y="54823"/>
                  </a:lnTo>
                  <a:lnTo>
                    <a:pt x="111841" y="53683"/>
                  </a:lnTo>
                  <a:lnTo>
                    <a:pt x="111558" y="52542"/>
                  </a:lnTo>
                  <a:lnTo>
                    <a:pt x="111104" y="51584"/>
                  </a:lnTo>
                  <a:lnTo>
                    <a:pt x="110538" y="50900"/>
                  </a:lnTo>
                  <a:lnTo>
                    <a:pt x="109858" y="50444"/>
                  </a:lnTo>
                  <a:lnTo>
                    <a:pt x="109065" y="50307"/>
                  </a:lnTo>
                  <a:close/>
                  <a:moveTo>
                    <a:pt x="109178" y="40684"/>
                  </a:moveTo>
                  <a:lnTo>
                    <a:pt x="108810" y="40820"/>
                  </a:lnTo>
                  <a:lnTo>
                    <a:pt x="108356" y="41003"/>
                  </a:lnTo>
                  <a:lnTo>
                    <a:pt x="107932" y="41277"/>
                  </a:lnTo>
                  <a:lnTo>
                    <a:pt x="107507" y="41641"/>
                  </a:lnTo>
                  <a:lnTo>
                    <a:pt x="107110" y="42052"/>
                  </a:lnTo>
                  <a:lnTo>
                    <a:pt x="106742" y="42417"/>
                  </a:lnTo>
                  <a:lnTo>
                    <a:pt x="110283" y="45610"/>
                  </a:lnTo>
                  <a:lnTo>
                    <a:pt x="110283" y="42782"/>
                  </a:lnTo>
                  <a:lnTo>
                    <a:pt x="110254" y="41870"/>
                  </a:lnTo>
                  <a:lnTo>
                    <a:pt x="110113" y="41277"/>
                  </a:lnTo>
                  <a:lnTo>
                    <a:pt x="109858" y="40957"/>
                  </a:lnTo>
                  <a:lnTo>
                    <a:pt x="109546" y="40684"/>
                  </a:lnTo>
                  <a:lnTo>
                    <a:pt x="109178" y="40684"/>
                  </a:lnTo>
                  <a:close/>
                  <a:moveTo>
                    <a:pt x="58696" y="0"/>
                  </a:moveTo>
                  <a:lnTo>
                    <a:pt x="103342" y="39452"/>
                  </a:lnTo>
                  <a:lnTo>
                    <a:pt x="103512" y="38996"/>
                  </a:lnTo>
                  <a:lnTo>
                    <a:pt x="103852" y="38540"/>
                  </a:lnTo>
                  <a:lnTo>
                    <a:pt x="104334" y="38038"/>
                  </a:lnTo>
                  <a:lnTo>
                    <a:pt x="105609" y="37126"/>
                  </a:lnTo>
                  <a:lnTo>
                    <a:pt x="106770" y="36442"/>
                  </a:lnTo>
                  <a:lnTo>
                    <a:pt x="107818" y="36031"/>
                  </a:lnTo>
                  <a:lnTo>
                    <a:pt x="108725" y="35758"/>
                  </a:lnTo>
                  <a:lnTo>
                    <a:pt x="109546" y="35712"/>
                  </a:lnTo>
                  <a:lnTo>
                    <a:pt x="110283" y="35758"/>
                  </a:lnTo>
                  <a:lnTo>
                    <a:pt x="110906" y="35986"/>
                  </a:lnTo>
                  <a:lnTo>
                    <a:pt x="111444" y="36351"/>
                  </a:lnTo>
                  <a:lnTo>
                    <a:pt x="111926" y="36807"/>
                  </a:lnTo>
                  <a:lnTo>
                    <a:pt x="112294" y="37354"/>
                  </a:lnTo>
                  <a:lnTo>
                    <a:pt x="112577" y="37993"/>
                  </a:lnTo>
                  <a:lnTo>
                    <a:pt x="112832" y="38722"/>
                  </a:lnTo>
                  <a:lnTo>
                    <a:pt x="113031" y="39407"/>
                  </a:lnTo>
                  <a:lnTo>
                    <a:pt x="113172" y="40182"/>
                  </a:lnTo>
                  <a:lnTo>
                    <a:pt x="113286" y="40957"/>
                  </a:lnTo>
                  <a:lnTo>
                    <a:pt x="113314" y="41687"/>
                  </a:lnTo>
                  <a:lnTo>
                    <a:pt x="113342" y="42417"/>
                  </a:lnTo>
                  <a:lnTo>
                    <a:pt x="113342" y="43101"/>
                  </a:lnTo>
                  <a:lnTo>
                    <a:pt x="113342" y="43694"/>
                  </a:lnTo>
                  <a:lnTo>
                    <a:pt x="113314" y="44287"/>
                  </a:lnTo>
                  <a:lnTo>
                    <a:pt x="113314" y="44697"/>
                  </a:lnTo>
                  <a:lnTo>
                    <a:pt x="113286" y="45062"/>
                  </a:lnTo>
                  <a:lnTo>
                    <a:pt x="113257" y="45290"/>
                  </a:lnTo>
                  <a:lnTo>
                    <a:pt x="113257" y="45381"/>
                  </a:lnTo>
                  <a:lnTo>
                    <a:pt x="113257" y="48255"/>
                  </a:lnTo>
                  <a:lnTo>
                    <a:pt x="120000" y="54184"/>
                  </a:lnTo>
                  <a:lnTo>
                    <a:pt x="113257" y="59977"/>
                  </a:lnTo>
                  <a:lnTo>
                    <a:pt x="113257" y="59977"/>
                  </a:lnTo>
                  <a:lnTo>
                    <a:pt x="113257" y="104903"/>
                  </a:lnTo>
                  <a:lnTo>
                    <a:pt x="117677" y="104903"/>
                  </a:lnTo>
                  <a:lnTo>
                    <a:pt x="117677" y="120000"/>
                  </a:lnTo>
                  <a:lnTo>
                    <a:pt x="111643" y="114070"/>
                  </a:lnTo>
                  <a:lnTo>
                    <a:pt x="106232" y="120000"/>
                  </a:lnTo>
                  <a:lnTo>
                    <a:pt x="106232" y="104903"/>
                  </a:lnTo>
                  <a:lnTo>
                    <a:pt x="110283" y="104903"/>
                  </a:lnTo>
                  <a:lnTo>
                    <a:pt x="110283" y="62485"/>
                  </a:lnTo>
                  <a:lnTo>
                    <a:pt x="98045" y="72976"/>
                  </a:lnTo>
                  <a:lnTo>
                    <a:pt x="98045" y="63899"/>
                  </a:lnTo>
                  <a:lnTo>
                    <a:pt x="97988" y="63854"/>
                  </a:lnTo>
                  <a:lnTo>
                    <a:pt x="97677" y="63625"/>
                  </a:lnTo>
                  <a:lnTo>
                    <a:pt x="97252" y="63261"/>
                  </a:lnTo>
                  <a:lnTo>
                    <a:pt x="96657" y="62805"/>
                  </a:lnTo>
                  <a:lnTo>
                    <a:pt x="95920" y="62212"/>
                  </a:lnTo>
                  <a:lnTo>
                    <a:pt x="94985" y="61573"/>
                  </a:lnTo>
                  <a:lnTo>
                    <a:pt x="93966" y="60798"/>
                  </a:lnTo>
                  <a:lnTo>
                    <a:pt x="92804" y="59977"/>
                  </a:lnTo>
                  <a:lnTo>
                    <a:pt x="91529" y="59156"/>
                  </a:lnTo>
                  <a:lnTo>
                    <a:pt x="90084" y="58198"/>
                  </a:lnTo>
                  <a:lnTo>
                    <a:pt x="88555" y="57240"/>
                  </a:lnTo>
                  <a:lnTo>
                    <a:pt x="86940" y="56328"/>
                  </a:lnTo>
                  <a:lnTo>
                    <a:pt x="85212" y="55324"/>
                  </a:lnTo>
                  <a:lnTo>
                    <a:pt x="83399" y="54367"/>
                  </a:lnTo>
                  <a:lnTo>
                    <a:pt x="81501" y="53409"/>
                  </a:lnTo>
                  <a:lnTo>
                    <a:pt x="79546" y="52497"/>
                  </a:lnTo>
                  <a:lnTo>
                    <a:pt x="77507" y="51676"/>
                  </a:lnTo>
                  <a:lnTo>
                    <a:pt x="75439" y="50855"/>
                  </a:lnTo>
                  <a:lnTo>
                    <a:pt x="73314" y="50079"/>
                  </a:lnTo>
                  <a:lnTo>
                    <a:pt x="71133" y="49441"/>
                  </a:lnTo>
                  <a:lnTo>
                    <a:pt x="68895" y="48848"/>
                  </a:lnTo>
                  <a:lnTo>
                    <a:pt x="66657" y="48346"/>
                  </a:lnTo>
                  <a:lnTo>
                    <a:pt x="64390" y="48027"/>
                  </a:lnTo>
                  <a:lnTo>
                    <a:pt x="62096" y="47753"/>
                  </a:lnTo>
                  <a:lnTo>
                    <a:pt x="59830" y="47708"/>
                  </a:lnTo>
                  <a:lnTo>
                    <a:pt x="57535" y="47753"/>
                  </a:lnTo>
                  <a:lnTo>
                    <a:pt x="55269" y="48027"/>
                  </a:lnTo>
                  <a:lnTo>
                    <a:pt x="53031" y="48346"/>
                  </a:lnTo>
                  <a:lnTo>
                    <a:pt x="50793" y="48893"/>
                  </a:lnTo>
                  <a:lnTo>
                    <a:pt x="48583" y="49486"/>
                  </a:lnTo>
                  <a:lnTo>
                    <a:pt x="46430" y="50125"/>
                  </a:lnTo>
                  <a:lnTo>
                    <a:pt x="44334" y="50900"/>
                  </a:lnTo>
                  <a:lnTo>
                    <a:pt x="42266" y="51721"/>
                  </a:lnTo>
                  <a:lnTo>
                    <a:pt x="40283" y="52679"/>
                  </a:lnTo>
                  <a:lnTo>
                    <a:pt x="38300" y="53591"/>
                  </a:lnTo>
                  <a:lnTo>
                    <a:pt x="36458" y="54549"/>
                  </a:lnTo>
                  <a:lnTo>
                    <a:pt x="34702" y="55553"/>
                  </a:lnTo>
                  <a:lnTo>
                    <a:pt x="33031" y="56556"/>
                  </a:lnTo>
                  <a:lnTo>
                    <a:pt x="31416" y="57559"/>
                  </a:lnTo>
                  <a:lnTo>
                    <a:pt x="29915" y="58517"/>
                  </a:lnTo>
                  <a:lnTo>
                    <a:pt x="28555" y="59429"/>
                  </a:lnTo>
                  <a:lnTo>
                    <a:pt x="27280" y="60342"/>
                  </a:lnTo>
                  <a:lnTo>
                    <a:pt x="26147" y="61208"/>
                  </a:lnTo>
                  <a:lnTo>
                    <a:pt x="25127" y="61984"/>
                  </a:lnTo>
                  <a:lnTo>
                    <a:pt x="24249" y="62622"/>
                  </a:lnTo>
                  <a:lnTo>
                    <a:pt x="23541" y="63215"/>
                  </a:lnTo>
                  <a:lnTo>
                    <a:pt x="22946" y="63671"/>
                  </a:lnTo>
                  <a:lnTo>
                    <a:pt x="22492" y="64082"/>
                  </a:lnTo>
                  <a:lnTo>
                    <a:pt x="22237" y="64264"/>
                  </a:lnTo>
                  <a:lnTo>
                    <a:pt x="22181" y="64401"/>
                  </a:lnTo>
                  <a:lnTo>
                    <a:pt x="22181" y="69555"/>
                  </a:lnTo>
                  <a:lnTo>
                    <a:pt x="0" y="53546"/>
                  </a:lnTo>
                  <a:lnTo>
                    <a:pt x="58696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endParaRPr sz="135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3" name="Google Shape;59;p14"/>
          <p:cNvSpPr txBox="1">
            <a:spLocks/>
          </p:cNvSpPr>
          <p:nvPr/>
        </p:nvSpPr>
        <p:spPr>
          <a:xfrm>
            <a:off x="39560" y="-3130"/>
            <a:ext cx="2938997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500" b="1" dirty="0" smtClean="0">
                <a:solidFill>
                  <a:schemeClr val="bg1"/>
                </a:solidFill>
              </a:rPr>
              <a:t>BUILDING YOUR BUSINESS CASE</a:t>
            </a:r>
            <a:endParaRPr lang="en-US" sz="15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0722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Google Shape;227;p28"/>
          <p:cNvSpPr/>
          <p:nvPr/>
        </p:nvSpPr>
        <p:spPr>
          <a:xfrm>
            <a:off x="1068936" y="0"/>
            <a:ext cx="608782" cy="5143500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28" name="Google Shape;228;p28"/>
          <p:cNvGrpSpPr/>
          <p:nvPr/>
        </p:nvGrpSpPr>
        <p:grpSpPr>
          <a:xfrm>
            <a:off x="1" y="606173"/>
            <a:ext cx="5527496" cy="862441"/>
            <a:chOff x="1" y="707962"/>
            <a:chExt cx="7970291" cy="1630907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229" name="Google Shape;229;p28"/>
            <p:cNvSpPr/>
            <p:nvPr/>
          </p:nvSpPr>
          <p:spPr>
            <a:xfrm>
              <a:off x="2430999" y="1189024"/>
              <a:ext cx="5539293" cy="1149845"/>
            </a:xfrm>
            <a:prstGeom prst="homePlate">
              <a:avLst>
                <a:gd name="adj" fmla="val 50000"/>
              </a:avLst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296466"/>
              <a:r>
                <a:rPr lang="en-US" sz="1350" b="1" dirty="0" smtClean="0">
                  <a:solidFill>
                    <a:srgbClr val="FFFFFF"/>
                  </a:solidFill>
                </a:rPr>
                <a:t>Governance </a:t>
              </a:r>
              <a:r>
                <a:rPr lang="en-US" sz="1350" b="1" dirty="0">
                  <a:solidFill>
                    <a:srgbClr val="FFFFFF"/>
                  </a:solidFill>
                </a:rPr>
                <a:t>Model Overview</a:t>
              </a:r>
              <a:endParaRPr sz="135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0" name="Google Shape;230;p28"/>
            <p:cNvSpPr/>
            <p:nvPr/>
          </p:nvSpPr>
          <p:spPr>
            <a:xfrm>
              <a:off x="1" y="1189023"/>
              <a:ext cx="1542190" cy="1149845"/>
            </a:xfrm>
            <a:prstGeom prst="rect">
              <a:avLst/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31" name="Google Shape;231;p28"/>
            <p:cNvGrpSpPr/>
            <p:nvPr/>
          </p:nvGrpSpPr>
          <p:grpSpPr>
            <a:xfrm>
              <a:off x="1299942" y="707962"/>
              <a:ext cx="1373307" cy="1630907"/>
              <a:chOff x="1333213" y="283213"/>
              <a:chExt cx="1373307" cy="1630907"/>
            </a:xfrm>
            <a:grpFill/>
          </p:grpSpPr>
          <p:grpSp>
            <p:nvGrpSpPr>
              <p:cNvPr id="232" name="Google Shape;232;p28"/>
              <p:cNvGrpSpPr/>
              <p:nvPr/>
            </p:nvGrpSpPr>
            <p:grpSpPr>
              <a:xfrm>
                <a:off x="1333213" y="1647988"/>
                <a:ext cx="1373307" cy="266132"/>
                <a:chOff x="1333208" y="1624082"/>
                <a:chExt cx="1373307" cy="266132"/>
              </a:xfrm>
              <a:grpFill/>
            </p:grpSpPr>
            <p:sp>
              <p:nvSpPr>
                <p:cNvPr id="233" name="Google Shape;233;p28"/>
                <p:cNvSpPr/>
                <p:nvPr/>
              </p:nvSpPr>
              <p:spPr>
                <a:xfrm rot="10800000" flipH="1">
                  <a:off x="2464266" y="1624082"/>
                  <a:ext cx="242249" cy="266132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34" name="Google Shape;234;p28"/>
                <p:cNvSpPr/>
                <p:nvPr/>
              </p:nvSpPr>
              <p:spPr>
                <a:xfrm rot="10800000">
                  <a:off x="1333208" y="1624082"/>
                  <a:ext cx="242249" cy="266132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235" name="Google Shape;235;p28"/>
              <p:cNvSpPr/>
              <p:nvPr/>
            </p:nvSpPr>
            <p:spPr>
              <a:xfrm>
                <a:off x="1334066" y="283213"/>
                <a:ext cx="1371600" cy="137160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r>
                  <a:rPr lang="en-US" sz="4500" b="1" dirty="0">
                    <a:solidFill>
                      <a:srgbClr val="FFFFFF"/>
                    </a:solidFill>
                  </a:rPr>
                  <a:t>01</a:t>
                </a:r>
                <a:endParaRPr sz="1050" dirty="0"/>
              </a:p>
            </p:txBody>
          </p:sp>
        </p:grpSp>
      </p:grpSp>
      <p:grpSp>
        <p:nvGrpSpPr>
          <p:cNvPr id="236" name="Google Shape;236;p28"/>
          <p:cNvGrpSpPr/>
          <p:nvPr/>
        </p:nvGrpSpPr>
        <p:grpSpPr>
          <a:xfrm>
            <a:off x="1" y="1480057"/>
            <a:ext cx="5527496" cy="862441"/>
            <a:chOff x="1" y="2560623"/>
            <a:chExt cx="7970291" cy="1630907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237" name="Google Shape;237;p28"/>
            <p:cNvSpPr/>
            <p:nvPr/>
          </p:nvSpPr>
          <p:spPr>
            <a:xfrm>
              <a:off x="2430999" y="3041685"/>
              <a:ext cx="5539293" cy="1149845"/>
            </a:xfrm>
            <a:prstGeom prst="homePlate">
              <a:avLst>
                <a:gd name="adj" fmla="val 50000"/>
              </a:avLst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296466"/>
              <a:r>
                <a:rPr lang="en-US" sz="1350" b="1" dirty="0" smtClean="0">
                  <a:solidFill>
                    <a:srgbClr val="FFFFFF"/>
                  </a:solidFill>
                </a:rPr>
                <a:t>Process Selection Overview</a:t>
              </a:r>
              <a:endParaRPr sz="135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8" name="Google Shape;238;p28"/>
            <p:cNvSpPr/>
            <p:nvPr/>
          </p:nvSpPr>
          <p:spPr>
            <a:xfrm>
              <a:off x="1" y="3041684"/>
              <a:ext cx="1542190" cy="1149845"/>
            </a:xfrm>
            <a:prstGeom prst="rect">
              <a:avLst/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39" name="Google Shape;239;p28"/>
            <p:cNvGrpSpPr/>
            <p:nvPr/>
          </p:nvGrpSpPr>
          <p:grpSpPr>
            <a:xfrm>
              <a:off x="1299942" y="2560623"/>
              <a:ext cx="1373307" cy="1630907"/>
              <a:chOff x="1333213" y="283213"/>
              <a:chExt cx="1373307" cy="1630907"/>
            </a:xfrm>
            <a:grpFill/>
          </p:grpSpPr>
          <p:grpSp>
            <p:nvGrpSpPr>
              <p:cNvPr id="240" name="Google Shape;240;p28"/>
              <p:cNvGrpSpPr/>
              <p:nvPr/>
            </p:nvGrpSpPr>
            <p:grpSpPr>
              <a:xfrm>
                <a:off x="1333213" y="1647988"/>
                <a:ext cx="1373307" cy="266132"/>
                <a:chOff x="1333208" y="1624082"/>
                <a:chExt cx="1373307" cy="266132"/>
              </a:xfrm>
              <a:grpFill/>
            </p:grpSpPr>
            <p:sp>
              <p:nvSpPr>
                <p:cNvPr id="241" name="Google Shape;241;p28"/>
                <p:cNvSpPr/>
                <p:nvPr/>
              </p:nvSpPr>
              <p:spPr>
                <a:xfrm rot="10800000" flipH="1">
                  <a:off x="2464266" y="1624082"/>
                  <a:ext cx="242249" cy="266132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42" name="Google Shape;242;p28"/>
                <p:cNvSpPr/>
                <p:nvPr/>
              </p:nvSpPr>
              <p:spPr>
                <a:xfrm rot="10800000">
                  <a:off x="1333208" y="1624082"/>
                  <a:ext cx="242249" cy="266132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243" name="Google Shape;243;p28"/>
              <p:cNvSpPr/>
              <p:nvPr/>
            </p:nvSpPr>
            <p:spPr>
              <a:xfrm>
                <a:off x="1334066" y="283213"/>
                <a:ext cx="1371600" cy="137160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r>
                  <a:rPr lang="en-US" sz="4500" b="1">
                    <a:solidFill>
                      <a:srgbClr val="FFFFFF"/>
                    </a:solidFill>
                  </a:rPr>
                  <a:t>02</a:t>
                </a:r>
                <a:endParaRPr sz="1050"/>
              </a:p>
            </p:txBody>
          </p:sp>
        </p:grpSp>
      </p:grpSp>
      <p:grpSp>
        <p:nvGrpSpPr>
          <p:cNvPr id="244" name="Google Shape;244;p28"/>
          <p:cNvGrpSpPr/>
          <p:nvPr/>
        </p:nvGrpSpPr>
        <p:grpSpPr>
          <a:xfrm>
            <a:off x="1" y="2353939"/>
            <a:ext cx="5527496" cy="862442"/>
            <a:chOff x="1" y="4723842"/>
            <a:chExt cx="7970291" cy="1630908"/>
          </a:xfrm>
          <a:solidFill>
            <a:schemeClr val="bg1">
              <a:lumMod val="50000"/>
            </a:schemeClr>
          </a:solidFill>
        </p:grpSpPr>
        <p:sp>
          <p:nvSpPr>
            <p:cNvPr id="245" name="Google Shape;245;p28"/>
            <p:cNvSpPr/>
            <p:nvPr/>
          </p:nvSpPr>
          <p:spPr>
            <a:xfrm>
              <a:off x="2430145" y="5204905"/>
              <a:ext cx="5540147" cy="1149845"/>
            </a:xfrm>
            <a:prstGeom prst="homePlate">
              <a:avLst>
                <a:gd name="adj" fmla="val 50000"/>
              </a:avLst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296466"/>
              <a:r>
                <a:rPr lang="en-US" sz="1350" b="1" dirty="0" smtClean="0">
                  <a:solidFill>
                    <a:srgbClr val="FFFFFF"/>
                  </a:solidFill>
                </a:rPr>
                <a:t>Process Selection Concepts</a:t>
              </a:r>
              <a:endParaRPr sz="135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6" name="Google Shape;246;p28"/>
            <p:cNvSpPr/>
            <p:nvPr/>
          </p:nvSpPr>
          <p:spPr>
            <a:xfrm>
              <a:off x="1" y="5204904"/>
              <a:ext cx="1541336" cy="1149845"/>
            </a:xfrm>
            <a:prstGeom prst="rect">
              <a:avLst/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47" name="Google Shape;247;p28"/>
            <p:cNvGrpSpPr/>
            <p:nvPr/>
          </p:nvGrpSpPr>
          <p:grpSpPr>
            <a:xfrm>
              <a:off x="1299088" y="4723842"/>
              <a:ext cx="1373307" cy="1630907"/>
              <a:chOff x="1333213" y="283213"/>
              <a:chExt cx="1373307" cy="1630907"/>
            </a:xfrm>
            <a:grpFill/>
          </p:grpSpPr>
          <p:grpSp>
            <p:nvGrpSpPr>
              <p:cNvPr id="248" name="Google Shape;248;p28"/>
              <p:cNvGrpSpPr/>
              <p:nvPr/>
            </p:nvGrpSpPr>
            <p:grpSpPr>
              <a:xfrm>
                <a:off x="1333213" y="1647988"/>
                <a:ext cx="1373307" cy="266132"/>
                <a:chOff x="1333208" y="1624082"/>
                <a:chExt cx="1373307" cy="266132"/>
              </a:xfrm>
              <a:grpFill/>
            </p:grpSpPr>
            <p:sp>
              <p:nvSpPr>
                <p:cNvPr id="249" name="Google Shape;249;p28"/>
                <p:cNvSpPr/>
                <p:nvPr/>
              </p:nvSpPr>
              <p:spPr>
                <a:xfrm rot="10800000" flipH="1">
                  <a:off x="2464266" y="1624082"/>
                  <a:ext cx="242249" cy="266132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50" name="Google Shape;250;p28"/>
                <p:cNvSpPr/>
                <p:nvPr/>
              </p:nvSpPr>
              <p:spPr>
                <a:xfrm rot="10800000">
                  <a:off x="1333208" y="1624082"/>
                  <a:ext cx="242249" cy="266132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251" name="Google Shape;251;p28"/>
              <p:cNvSpPr/>
              <p:nvPr/>
            </p:nvSpPr>
            <p:spPr>
              <a:xfrm>
                <a:off x="1334066" y="283213"/>
                <a:ext cx="1371600" cy="137160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r>
                  <a:rPr lang="en-US" sz="4500" b="1" dirty="0">
                    <a:solidFill>
                      <a:srgbClr val="FFFFFF"/>
                    </a:solidFill>
                  </a:rPr>
                  <a:t>03</a:t>
                </a:r>
                <a:endParaRPr sz="1050" dirty="0"/>
              </a:p>
            </p:txBody>
          </p:sp>
        </p:grpSp>
      </p:grpSp>
      <p:sp>
        <p:nvSpPr>
          <p:cNvPr id="252" name="Google Shape;252;p28"/>
          <p:cNvSpPr/>
          <p:nvPr/>
        </p:nvSpPr>
        <p:spPr>
          <a:xfrm>
            <a:off x="5357102" y="860562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3" name="Google Shape;253;p28"/>
          <p:cNvSpPr/>
          <p:nvPr/>
        </p:nvSpPr>
        <p:spPr>
          <a:xfrm>
            <a:off x="5357102" y="1752352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4" name="Google Shape;254;p28"/>
          <p:cNvSpPr/>
          <p:nvPr/>
        </p:nvSpPr>
        <p:spPr>
          <a:xfrm>
            <a:off x="5357102" y="2616174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" name="Google Shape;59;p14"/>
          <p:cNvSpPr txBox="1">
            <a:spLocks/>
          </p:cNvSpPr>
          <p:nvPr/>
        </p:nvSpPr>
        <p:spPr>
          <a:xfrm>
            <a:off x="1769336" y="85026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000000"/>
              </a:buClr>
            </a:pPr>
            <a:r>
              <a:rPr lang="en-US" b="1" dirty="0" smtClean="0">
                <a:solidFill>
                  <a:srgbClr val="FFFFFF"/>
                </a:solidFill>
              </a:rPr>
              <a:t>COURSE OUTLINE</a:t>
            </a:r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67" name="Google Shape;237;p28"/>
          <p:cNvSpPr/>
          <p:nvPr/>
        </p:nvSpPr>
        <p:spPr>
          <a:xfrm>
            <a:off x="1685928" y="4363548"/>
            <a:ext cx="3841569" cy="608050"/>
          </a:xfrm>
          <a:prstGeom prst="homePlate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3500000" algn="br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296466"/>
            <a:r>
              <a:rPr lang="en-US" sz="1350" b="1" dirty="0" smtClean="0">
                <a:solidFill>
                  <a:srgbClr val="FFFFFF"/>
                </a:solidFill>
              </a:rPr>
              <a:t>Exam</a:t>
            </a:r>
            <a:endParaRPr sz="1350" b="1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" name="Google Shape;238;p28"/>
          <p:cNvSpPr/>
          <p:nvPr/>
        </p:nvSpPr>
        <p:spPr>
          <a:xfrm>
            <a:off x="1" y="4363547"/>
            <a:ext cx="1069528" cy="60805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3500000" algn="br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70" name="Google Shape;240;p28"/>
          <p:cNvGrpSpPr/>
          <p:nvPr/>
        </p:nvGrpSpPr>
        <p:grpSpPr>
          <a:xfrm>
            <a:off x="901526" y="4830865"/>
            <a:ext cx="952405" cy="140733"/>
            <a:chOff x="1333208" y="1624082"/>
            <a:chExt cx="1373307" cy="266132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72" name="Google Shape;241;p28"/>
            <p:cNvSpPr/>
            <p:nvPr/>
          </p:nvSpPr>
          <p:spPr>
            <a:xfrm rot="10800000" flipH="1">
              <a:off x="2464266" y="1624082"/>
              <a:ext cx="242249" cy="266132"/>
            </a:xfrm>
            <a:prstGeom prst="rtTriangle">
              <a:avLst/>
            </a:prstGeom>
            <a:grpFill/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4500" b="1">
                <a:solidFill>
                  <a:srgbClr val="FFFFFF"/>
                </a:solidFill>
              </a:endParaRPr>
            </a:p>
          </p:txBody>
        </p:sp>
        <p:sp>
          <p:nvSpPr>
            <p:cNvPr id="73" name="Google Shape;242;p28"/>
            <p:cNvSpPr/>
            <p:nvPr/>
          </p:nvSpPr>
          <p:spPr>
            <a:xfrm rot="10800000">
              <a:off x="1333208" y="1624082"/>
              <a:ext cx="242249" cy="266132"/>
            </a:xfrm>
            <a:prstGeom prst="rtTriangle">
              <a:avLst/>
            </a:prstGeom>
            <a:grpFill/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4500" b="1">
                <a:solidFill>
                  <a:srgbClr val="FFFFFF"/>
                </a:solidFill>
              </a:endParaRPr>
            </a:p>
          </p:txBody>
        </p:sp>
      </p:grpSp>
      <p:sp>
        <p:nvSpPr>
          <p:cNvPr id="71" name="Google Shape;243;p28"/>
          <p:cNvSpPr/>
          <p:nvPr/>
        </p:nvSpPr>
        <p:spPr>
          <a:xfrm>
            <a:off x="902118" y="4109157"/>
            <a:ext cx="951221" cy="72531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r>
              <a:rPr lang="en-US" sz="4500" b="1" dirty="0" smtClean="0">
                <a:solidFill>
                  <a:srgbClr val="FFFFFF"/>
                </a:solidFill>
              </a:rPr>
              <a:t>05</a:t>
            </a:r>
            <a:endParaRPr sz="1050" dirty="0"/>
          </a:p>
        </p:txBody>
      </p:sp>
      <p:sp>
        <p:nvSpPr>
          <p:cNvPr id="75" name="Google Shape;253;p28"/>
          <p:cNvSpPr/>
          <p:nvPr/>
        </p:nvSpPr>
        <p:spPr>
          <a:xfrm>
            <a:off x="5357102" y="4381452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46" name="Group 45"/>
          <p:cNvGrpSpPr/>
          <p:nvPr/>
        </p:nvGrpSpPr>
        <p:grpSpPr>
          <a:xfrm>
            <a:off x="1" y="3235273"/>
            <a:ext cx="5527496" cy="862441"/>
            <a:chOff x="1" y="3235273"/>
            <a:chExt cx="5527496" cy="862441"/>
          </a:xfrm>
        </p:grpSpPr>
        <p:sp>
          <p:nvSpPr>
            <p:cNvPr id="47" name="Google Shape;229;p28"/>
            <p:cNvSpPr/>
            <p:nvPr/>
          </p:nvSpPr>
          <p:spPr>
            <a:xfrm>
              <a:off x="1685928" y="3489664"/>
              <a:ext cx="3841569" cy="608050"/>
            </a:xfrm>
            <a:prstGeom prst="homePlate">
              <a:avLst>
                <a:gd name="adj" fmla="val 50000"/>
              </a:avLst>
            </a:prstGeom>
            <a:gradFill>
              <a:gsLst>
                <a:gs pos="0">
                  <a:schemeClr val="accent2">
                    <a:lumMod val="50000"/>
                  </a:schemeClr>
                </a:gs>
                <a:gs pos="50000">
                  <a:schemeClr val="accent2"/>
                </a:gs>
                <a:gs pos="100000">
                  <a:schemeClr val="accent2"/>
                </a:gs>
              </a:gsLst>
              <a:lin ang="0" scaled="0"/>
            </a:gradFill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296466"/>
              <a:r>
                <a:rPr lang="en-US" sz="1350" b="1" dirty="0" smtClean="0">
                  <a:solidFill>
                    <a:srgbClr val="FFFFFF"/>
                  </a:solidFill>
                </a:rPr>
                <a:t>Tools Orientation</a:t>
              </a:r>
              <a:endParaRPr sz="135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230;p28"/>
            <p:cNvSpPr/>
            <p:nvPr/>
          </p:nvSpPr>
          <p:spPr>
            <a:xfrm>
              <a:off x="1" y="3489663"/>
              <a:ext cx="1069528" cy="608050"/>
            </a:xfrm>
            <a:prstGeom prst="rect">
              <a:avLst/>
            </a:prstGeom>
            <a:gradFill>
              <a:gsLst>
                <a:gs pos="0">
                  <a:schemeClr val="accent2">
                    <a:lumMod val="50000"/>
                  </a:schemeClr>
                </a:gs>
                <a:gs pos="50000">
                  <a:schemeClr val="accent2">
                    <a:lumMod val="75000"/>
                  </a:schemeClr>
                </a:gs>
                <a:gs pos="100000">
                  <a:schemeClr val="accent2"/>
                </a:gs>
              </a:gsLst>
              <a:lin ang="10800000" scaled="0"/>
            </a:gradFill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49" name="Google Shape;232;p28"/>
            <p:cNvGrpSpPr/>
            <p:nvPr/>
          </p:nvGrpSpPr>
          <p:grpSpPr>
            <a:xfrm>
              <a:off x="901526" y="3956981"/>
              <a:ext cx="952405" cy="140733"/>
              <a:chOff x="1333208" y="1624082"/>
              <a:chExt cx="1373307" cy="266132"/>
            </a:xfrm>
            <a:solidFill>
              <a:schemeClr val="accent2">
                <a:lumMod val="75000"/>
              </a:schemeClr>
            </a:solidFill>
          </p:grpSpPr>
          <p:sp>
            <p:nvSpPr>
              <p:cNvPr id="51" name="Google Shape;233;p28"/>
              <p:cNvSpPr/>
              <p:nvPr/>
            </p:nvSpPr>
            <p:spPr>
              <a:xfrm rot="10800000" flipH="1">
                <a:off x="2464266" y="1624082"/>
                <a:ext cx="242249" cy="266132"/>
              </a:xfrm>
              <a:prstGeom prst="rtTriangle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endParaRPr sz="4500" b="1">
                  <a:solidFill>
                    <a:srgbClr val="FFFFFF"/>
                  </a:solidFill>
                </a:endParaRPr>
              </a:p>
            </p:txBody>
          </p:sp>
          <p:sp>
            <p:nvSpPr>
              <p:cNvPr id="52" name="Google Shape;234;p28"/>
              <p:cNvSpPr/>
              <p:nvPr/>
            </p:nvSpPr>
            <p:spPr>
              <a:xfrm rot="10800000">
                <a:off x="1333208" y="1624082"/>
                <a:ext cx="242249" cy="266132"/>
              </a:xfrm>
              <a:prstGeom prst="rtTriangle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endParaRPr sz="4500" b="1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50" name="Google Shape;235;p28"/>
            <p:cNvSpPr/>
            <p:nvPr/>
          </p:nvSpPr>
          <p:spPr>
            <a:xfrm>
              <a:off x="902118" y="3235273"/>
              <a:ext cx="951221" cy="72531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r>
                <a:rPr lang="en-US" sz="4500" b="1" dirty="0" smtClean="0">
                  <a:solidFill>
                    <a:srgbClr val="FFFFFF"/>
                  </a:solidFill>
                </a:rPr>
                <a:t>04</a:t>
              </a:r>
              <a:endParaRPr sz="1050" dirty="0"/>
            </a:p>
          </p:txBody>
        </p:sp>
      </p:grpSp>
      <p:sp>
        <p:nvSpPr>
          <p:cNvPr id="53" name="Google Shape;252;p28"/>
          <p:cNvSpPr/>
          <p:nvPr/>
        </p:nvSpPr>
        <p:spPr>
          <a:xfrm>
            <a:off x="5357102" y="3489662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accent2"/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29743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p28"/>
          <p:cNvSpPr/>
          <p:nvPr/>
        </p:nvSpPr>
        <p:spPr>
          <a:xfrm>
            <a:off x="5319172" y="933910"/>
            <a:ext cx="3218576" cy="3766110"/>
          </a:xfrm>
          <a:prstGeom prst="roundRect">
            <a:avLst>
              <a:gd name="adj" fmla="val 3204"/>
            </a:avLst>
          </a:prstGeom>
          <a:solidFill>
            <a:schemeClr val="lt2"/>
          </a:solidFill>
          <a:ln>
            <a:noFill/>
          </a:ln>
          <a:effectLst>
            <a:outerShdw blurRad="241300" dist="127000" dir="4800000" algn="t" rotWithShape="0">
              <a:srgbClr val="000000">
                <a:alpha val="23921"/>
              </a:srgbClr>
            </a:outerShdw>
          </a:effectLst>
        </p:spPr>
        <p:txBody>
          <a:bodyPr spcFirstLastPara="1" wrap="square" lIns="51427" tIns="25706" rIns="51427" bIns="25706" anchor="ctr" anchorCtr="0">
            <a:noAutofit/>
          </a:bodyPr>
          <a:lstStyle/>
          <a:p>
            <a:pPr lvl="0" algn="just"/>
            <a:r>
              <a:rPr lang="en-US" sz="1275" dirty="0"/>
              <a:t>The security team which consists of 1 business user is designated to generate security </a:t>
            </a:r>
            <a:r>
              <a:rPr lang="en-US" sz="1275" dirty="0" smtClean="0"/>
              <a:t>hash from 8AM to 5PM every Monday to Friday for </a:t>
            </a:r>
            <a:r>
              <a:rPr lang="en-US" sz="1275" dirty="0"/>
              <a:t>each client based on their personal information. The number of items being processed per day is 7-15 clients. The average handling time per item without exception is 2 minutes per client. </a:t>
            </a:r>
            <a:r>
              <a:rPr lang="en-US" sz="1275" dirty="0" smtClean="0"/>
              <a:t>The </a:t>
            </a:r>
            <a:r>
              <a:rPr lang="en-PH" sz="1200" dirty="0" smtClean="0">
                <a:solidFill>
                  <a:schemeClr val="dk1"/>
                </a:solidFill>
              </a:rPr>
              <a:t>amount </a:t>
            </a:r>
            <a:r>
              <a:rPr lang="en-PH" sz="1200" dirty="0">
                <a:solidFill>
                  <a:schemeClr val="dk1"/>
                </a:solidFill>
              </a:rPr>
              <a:t>of transaction requests coming in </a:t>
            </a:r>
            <a:r>
              <a:rPr lang="en-PH" sz="1200" dirty="0" smtClean="0">
                <a:solidFill>
                  <a:schemeClr val="dk1"/>
                </a:solidFill>
              </a:rPr>
              <a:t>daily is 11. </a:t>
            </a:r>
            <a:r>
              <a:rPr lang="en-US" sz="1275" dirty="0" smtClean="0"/>
              <a:t>The </a:t>
            </a:r>
            <a:r>
              <a:rPr lang="en-US" sz="1275" dirty="0"/>
              <a:t>input data will be the client data and its expected output is the client security hash. This process will be 100% automated. The team has an SLA of 4 minutes completion of processing per client. Possible errors in running the process are incorrect email or password, no existing WI5 task and unresponsive application</a:t>
            </a:r>
            <a:r>
              <a:rPr lang="en-US" sz="1275" dirty="0" smtClean="0"/>
              <a:t>. These errors are being encountered </a:t>
            </a:r>
            <a:r>
              <a:rPr lang="en-US" sz="1275" dirty="0" smtClean="0"/>
              <a:t>twice daily.</a:t>
            </a:r>
            <a:endParaRPr lang="en-PH" sz="1275" dirty="0"/>
          </a:p>
          <a:p>
            <a:pPr marL="85725" algn="just"/>
            <a:endParaRPr lang="en-PH" sz="900" dirty="0">
              <a:solidFill>
                <a:schemeClr val="tx1"/>
              </a:solidFill>
            </a:endParaRPr>
          </a:p>
        </p:txBody>
      </p:sp>
      <p:sp>
        <p:nvSpPr>
          <p:cNvPr id="35" name="Title 1"/>
          <p:cNvSpPr txBox="1">
            <a:spLocks/>
          </p:cNvSpPr>
          <p:nvPr/>
        </p:nvSpPr>
        <p:spPr>
          <a:xfrm>
            <a:off x="416275" y="375869"/>
            <a:ext cx="6390450" cy="57262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PH" sz="2100" dirty="0" smtClean="0">
                <a:solidFill>
                  <a:schemeClr val="bg1"/>
                </a:solidFill>
              </a:rPr>
              <a:t>Sample Case</a:t>
            </a:r>
            <a:endParaRPr lang="en-PH" sz="2100" dirty="0">
              <a:solidFill>
                <a:schemeClr val="bg1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811" y="1111104"/>
            <a:ext cx="5025722" cy="3030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514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Google Shape;227;p28"/>
          <p:cNvSpPr/>
          <p:nvPr/>
        </p:nvSpPr>
        <p:spPr>
          <a:xfrm>
            <a:off x="1068936" y="0"/>
            <a:ext cx="608782" cy="5143500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28" name="Google Shape;228;p28"/>
          <p:cNvGrpSpPr/>
          <p:nvPr/>
        </p:nvGrpSpPr>
        <p:grpSpPr>
          <a:xfrm>
            <a:off x="1" y="606173"/>
            <a:ext cx="5527496" cy="862441"/>
            <a:chOff x="1" y="707962"/>
            <a:chExt cx="7970291" cy="1630907"/>
          </a:xfrm>
        </p:grpSpPr>
        <p:sp>
          <p:nvSpPr>
            <p:cNvPr id="229" name="Google Shape;229;p28"/>
            <p:cNvSpPr/>
            <p:nvPr/>
          </p:nvSpPr>
          <p:spPr>
            <a:xfrm>
              <a:off x="2430999" y="1189024"/>
              <a:ext cx="5539293" cy="1149845"/>
            </a:xfrm>
            <a:prstGeom prst="homePlate">
              <a:avLst>
                <a:gd name="adj" fmla="val 50000"/>
              </a:avLst>
            </a:prstGeom>
            <a:gradFill>
              <a:gsLst>
                <a:gs pos="0">
                  <a:srgbClr val="9E0000"/>
                </a:gs>
                <a:gs pos="50000">
                  <a:srgbClr val="E40000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296466"/>
              <a:r>
                <a:rPr lang="en-US" sz="1350" b="1" dirty="0" smtClean="0">
                  <a:solidFill>
                    <a:srgbClr val="FFFFFF"/>
                  </a:solidFill>
                </a:rPr>
                <a:t>Governance </a:t>
              </a:r>
              <a:r>
                <a:rPr lang="en-US" sz="1350" b="1" dirty="0">
                  <a:solidFill>
                    <a:srgbClr val="FFFFFF"/>
                  </a:solidFill>
                </a:rPr>
                <a:t>Model Overview</a:t>
              </a:r>
              <a:endParaRPr sz="135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0" name="Google Shape;230;p28"/>
            <p:cNvSpPr/>
            <p:nvPr/>
          </p:nvSpPr>
          <p:spPr>
            <a:xfrm>
              <a:off x="1" y="1189023"/>
              <a:ext cx="1542190" cy="1149845"/>
            </a:xfrm>
            <a:prstGeom prst="rect">
              <a:avLst/>
            </a:prstGeom>
            <a:gradFill>
              <a:gsLst>
                <a:gs pos="0">
                  <a:srgbClr val="9E0000"/>
                </a:gs>
                <a:gs pos="50000">
                  <a:srgbClr val="E40000"/>
                </a:gs>
                <a:gs pos="100000">
                  <a:schemeClr val="accent3"/>
                </a:gs>
              </a:gsLst>
              <a:lin ang="10800000" scaled="0"/>
            </a:gradFill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31" name="Google Shape;231;p28"/>
            <p:cNvGrpSpPr/>
            <p:nvPr/>
          </p:nvGrpSpPr>
          <p:grpSpPr>
            <a:xfrm>
              <a:off x="1299942" y="707962"/>
              <a:ext cx="1373307" cy="1630907"/>
              <a:chOff x="1333213" y="283213"/>
              <a:chExt cx="1373307" cy="1630907"/>
            </a:xfrm>
          </p:grpSpPr>
          <p:grpSp>
            <p:nvGrpSpPr>
              <p:cNvPr id="232" name="Google Shape;232;p28"/>
              <p:cNvGrpSpPr/>
              <p:nvPr/>
            </p:nvGrpSpPr>
            <p:grpSpPr>
              <a:xfrm>
                <a:off x="1333213" y="1647988"/>
                <a:ext cx="1373307" cy="266132"/>
                <a:chOff x="1333208" y="1624082"/>
                <a:chExt cx="1373307" cy="266132"/>
              </a:xfrm>
            </p:grpSpPr>
            <p:sp>
              <p:nvSpPr>
                <p:cNvPr id="233" name="Google Shape;233;p28"/>
                <p:cNvSpPr/>
                <p:nvPr/>
              </p:nvSpPr>
              <p:spPr>
                <a:xfrm rot="10800000" flipH="1">
                  <a:off x="2464266" y="1624082"/>
                  <a:ext cx="242249" cy="266132"/>
                </a:xfrm>
                <a:prstGeom prst="rtTriangle">
                  <a:avLst/>
                </a:prstGeom>
                <a:solidFill>
                  <a:srgbClr val="BF0000"/>
                </a:solidFill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34" name="Google Shape;234;p28"/>
                <p:cNvSpPr/>
                <p:nvPr/>
              </p:nvSpPr>
              <p:spPr>
                <a:xfrm rot="10800000">
                  <a:off x="1333208" y="1624082"/>
                  <a:ext cx="242249" cy="266132"/>
                </a:xfrm>
                <a:prstGeom prst="rtTriangle">
                  <a:avLst/>
                </a:prstGeom>
                <a:solidFill>
                  <a:srgbClr val="BF0000"/>
                </a:solidFill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235" name="Google Shape;235;p28"/>
              <p:cNvSpPr/>
              <p:nvPr/>
            </p:nvSpPr>
            <p:spPr>
              <a:xfrm>
                <a:off x="1334066" y="283213"/>
                <a:ext cx="1371600" cy="13716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r>
                  <a:rPr lang="en-US" sz="4500" b="1" dirty="0">
                    <a:solidFill>
                      <a:srgbClr val="FFFFFF"/>
                    </a:solidFill>
                  </a:rPr>
                  <a:t>01</a:t>
                </a:r>
                <a:endParaRPr sz="1050" dirty="0"/>
              </a:p>
            </p:txBody>
          </p:sp>
        </p:grpSp>
      </p:grpSp>
      <p:grpSp>
        <p:nvGrpSpPr>
          <p:cNvPr id="236" name="Google Shape;236;p28"/>
          <p:cNvGrpSpPr/>
          <p:nvPr/>
        </p:nvGrpSpPr>
        <p:grpSpPr>
          <a:xfrm>
            <a:off x="1" y="1480057"/>
            <a:ext cx="5527496" cy="862441"/>
            <a:chOff x="1" y="2560623"/>
            <a:chExt cx="7970291" cy="1630907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237" name="Google Shape;237;p28"/>
            <p:cNvSpPr/>
            <p:nvPr/>
          </p:nvSpPr>
          <p:spPr>
            <a:xfrm>
              <a:off x="2430999" y="3041685"/>
              <a:ext cx="5539293" cy="1149845"/>
            </a:xfrm>
            <a:prstGeom prst="homePlate">
              <a:avLst>
                <a:gd name="adj" fmla="val 50000"/>
              </a:avLst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296466"/>
              <a:r>
                <a:rPr lang="en-US" sz="1350" b="1" dirty="0" smtClean="0">
                  <a:solidFill>
                    <a:srgbClr val="FFFFFF"/>
                  </a:solidFill>
                </a:rPr>
                <a:t>Process Selection Overview</a:t>
              </a:r>
              <a:endParaRPr sz="135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8" name="Google Shape;238;p28"/>
            <p:cNvSpPr/>
            <p:nvPr/>
          </p:nvSpPr>
          <p:spPr>
            <a:xfrm>
              <a:off x="1" y="3041684"/>
              <a:ext cx="1542190" cy="1149845"/>
            </a:xfrm>
            <a:prstGeom prst="rect">
              <a:avLst/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39" name="Google Shape;239;p28"/>
            <p:cNvGrpSpPr/>
            <p:nvPr/>
          </p:nvGrpSpPr>
          <p:grpSpPr>
            <a:xfrm>
              <a:off x="1299942" y="2560623"/>
              <a:ext cx="1373307" cy="1630907"/>
              <a:chOff x="1333213" y="283213"/>
              <a:chExt cx="1373307" cy="1630907"/>
            </a:xfrm>
            <a:grpFill/>
          </p:grpSpPr>
          <p:grpSp>
            <p:nvGrpSpPr>
              <p:cNvPr id="240" name="Google Shape;240;p28"/>
              <p:cNvGrpSpPr/>
              <p:nvPr/>
            </p:nvGrpSpPr>
            <p:grpSpPr>
              <a:xfrm>
                <a:off x="1333213" y="1647988"/>
                <a:ext cx="1373307" cy="266132"/>
                <a:chOff x="1333208" y="1624082"/>
                <a:chExt cx="1373307" cy="266132"/>
              </a:xfrm>
              <a:grpFill/>
            </p:grpSpPr>
            <p:sp>
              <p:nvSpPr>
                <p:cNvPr id="241" name="Google Shape;241;p28"/>
                <p:cNvSpPr/>
                <p:nvPr/>
              </p:nvSpPr>
              <p:spPr>
                <a:xfrm rot="10800000" flipH="1">
                  <a:off x="2464266" y="1624082"/>
                  <a:ext cx="242249" cy="266132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42" name="Google Shape;242;p28"/>
                <p:cNvSpPr/>
                <p:nvPr/>
              </p:nvSpPr>
              <p:spPr>
                <a:xfrm rot="10800000">
                  <a:off x="1333208" y="1624082"/>
                  <a:ext cx="242249" cy="266132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243" name="Google Shape;243;p28"/>
              <p:cNvSpPr/>
              <p:nvPr/>
            </p:nvSpPr>
            <p:spPr>
              <a:xfrm>
                <a:off x="1334066" y="283213"/>
                <a:ext cx="1371600" cy="137160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r>
                  <a:rPr lang="en-US" sz="4500" b="1">
                    <a:solidFill>
                      <a:srgbClr val="FFFFFF"/>
                    </a:solidFill>
                  </a:rPr>
                  <a:t>02</a:t>
                </a:r>
                <a:endParaRPr sz="1050"/>
              </a:p>
            </p:txBody>
          </p:sp>
        </p:grpSp>
      </p:grpSp>
      <p:grpSp>
        <p:nvGrpSpPr>
          <p:cNvPr id="244" name="Google Shape;244;p28"/>
          <p:cNvGrpSpPr/>
          <p:nvPr/>
        </p:nvGrpSpPr>
        <p:grpSpPr>
          <a:xfrm>
            <a:off x="1" y="2353939"/>
            <a:ext cx="5527496" cy="862442"/>
            <a:chOff x="1" y="4723842"/>
            <a:chExt cx="7970291" cy="1630908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245" name="Google Shape;245;p28"/>
            <p:cNvSpPr/>
            <p:nvPr/>
          </p:nvSpPr>
          <p:spPr>
            <a:xfrm>
              <a:off x="2430145" y="5204905"/>
              <a:ext cx="5540147" cy="1149845"/>
            </a:xfrm>
            <a:prstGeom prst="homePlate">
              <a:avLst>
                <a:gd name="adj" fmla="val 50000"/>
              </a:avLst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296466"/>
              <a:r>
                <a:rPr lang="en-US" sz="1350" b="1" dirty="0" smtClean="0">
                  <a:solidFill>
                    <a:srgbClr val="FFFFFF"/>
                  </a:solidFill>
                </a:rPr>
                <a:t>Process Selection Concepts</a:t>
              </a:r>
              <a:endParaRPr sz="135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6" name="Google Shape;246;p28"/>
            <p:cNvSpPr/>
            <p:nvPr/>
          </p:nvSpPr>
          <p:spPr>
            <a:xfrm>
              <a:off x="1" y="5204904"/>
              <a:ext cx="1541336" cy="1149845"/>
            </a:xfrm>
            <a:prstGeom prst="rect">
              <a:avLst/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47" name="Google Shape;247;p28"/>
            <p:cNvGrpSpPr/>
            <p:nvPr/>
          </p:nvGrpSpPr>
          <p:grpSpPr>
            <a:xfrm>
              <a:off x="1299088" y="4723842"/>
              <a:ext cx="1373307" cy="1630907"/>
              <a:chOff x="1333213" y="283213"/>
              <a:chExt cx="1373307" cy="1630907"/>
            </a:xfrm>
            <a:grpFill/>
          </p:grpSpPr>
          <p:grpSp>
            <p:nvGrpSpPr>
              <p:cNvPr id="248" name="Google Shape;248;p28"/>
              <p:cNvGrpSpPr/>
              <p:nvPr/>
            </p:nvGrpSpPr>
            <p:grpSpPr>
              <a:xfrm>
                <a:off x="1333213" y="1647988"/>
                <a:ext cx="1373307" cy="266132"/>
                <a:chOff x="1333208" y="1624082"/>
                <a:chExt cx="1373307" cy="266132"/>
              </a:xfrm>
              <a:grpFill/>
            </p:grpSpPr>
            <p:sp>
              <p:nvSpPr>
                <p:cNvPr id="249" name="Google Shape;249;p28"/>
                <p:cNvSpPr/>
                <p:nvPr/>
              </p:nvSpPr>
              <p:spPr>
                <a:xfrm rot="10800000" flipH="1">
                  <a:off x="2464266" y="1624082"/>
                  <a:ext cx="242249" cy="266132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50" name="Google Shape;250;p28"/>
                <p:cNvSpPr/>
                <p:nvPr/>
              </p:nvSpPr>
              <p:spPr>
                <a:xfrm rot="10800000">
                  <a:off x="1333208" y="1624082"/>
                  <a:ext cx="242249" cy="266132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251" name="Google Shape;251;p28"/>
              <p:cNvSpPr/>
              <p:nvPr/>
            </p:nvSpPr>
            <p:spPr>
              <a:xfrm>
                <a:off x="1334066" y="283213"/>
                <a:ext cx="1371600" cy="137160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r>
                  <a:rPr lang="en-US" sz="4500" b="1" dirty="0">
                    <a:solidFill>
                      <a:srgbClr val="FFFFFF"/>
                    </a:solidFill>
                  </a:rPr>
                  <a:t>03</a:t>
                </a:r>
                <a:endParaRPr sz="1050" dirty="0"/>
              </a:p>
            </p:txBody>
          </p:sp>
        </p:grpSp>
      </p:grpSp>
      <p:sp>
        <p:nvSpPr>
          <p:cNvPr id="252" name="Google Shape;252;p28"/>
          <p:cNvSpPr/>
          <p:nvPr/>
        </p:nvSpPr>
        <p:spPr>
          <a:xfrm>
            <a:off x="5357102" y="860562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accent3"/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3" name="Google Shape;253;p28"/>
          <p:cNvSpPr/>
          <p:nvPr/>
        </p:nvSpPr>
        <p:spPr>
          <a:xfrm>
            <a:off x="5357102" y="1752352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4" name="Google Shape;254;p28"/>
          <p:cNvSpPr/>
          <p:nvPr/>
        </p:nvSpPr>
        <p:spPr>
          <a:xfrm>
            <a:off x="5357102" y="2616174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" name="Google Shape;59;p14"/>
          <p:cNvSpPr txBox="1">
            <a:spLocks/>
          </p:cNvSpPr>
          <p:nvPr/>
        </p:nvSpPr>
        <p:spPr>
          <a:xfrm>
            <a:off x="1769336" y="85026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b="1" dirty="0" smtClean="0">
                <a:solidFill>
                  <a:schemeClr val="bg1"/>
                </a:solidFill>
              </a:rPr>
              <a:t>COURSE OUTLINE</a:t>
            </a:r>
            <a:endParaRPr lang="en-US" b="1" dirty="0">
              <a:solidFill>
                <a:schemeClr val="bg1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" y="3235273"/>
            <a:ext cx="5527496" cy="862441"/>
            <a:chOff x="1" y="3235273"/>
            <a:chExt cx="5527496" cy="862441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59" name="Google Shape;229;p28"/>
            <p:cNvSpPr/>
            <p:nvPr/>
          </p:nvSpPr>
          <p:spPr>
            <a:xfrm>
              <a:off x="1685928" y="3489664"/>
              <a:ext cx="3841569" cy="608050"/>
            </a:xfrm>
            <a:prstGeom prst="homePlate">
              <a:avLst>
                <a:gd name="adj" fmla="val 50000"/>
              </a:avLst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296466"/>
              <a:r>
                <a:rPr lang="en-US" sz="1350" b="1" dirty="0" smtClean="0">
                  <a:solidFill>
                    <a:srgbClr val="FFFFFF"/>
                  </a:solidFill>
                </a:rPr>
                <a:t>Tools Orientation</a:t>
              </a:r>
              <a:endParaRPr sz="135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230;p28"/>
            <p:cNvSpPr/>
            <p:nvPr/>
          </p:nvSpPr>
          <p:spPr>
            <a:xfrm>
              <a:off x="1" y="3489663"/>
              <a:ext cx="1069528" cy="608050"/>
            </a:xfrm>
            <a:prstGeom prst="rect">
              <a:avLst/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62" name="Google Shape;232;p28"/>
            <p:cNvGrpSpPr/>
            <p:nvPr/>
          </p:nvGrpSpPr>
          <p:grpSpPr>
            <a:xfrm>
              <a:off x="901526" y="3956981"/>
              <a:ext cx="952405" cy="140733"/>
              <a:chOff x="1333208" y="1624082"/>
              <a:chExt cx="1373307" cy="266132"/>
            </a:xfrm>
            <a:grpFill/>
          </p:grpSpPr>
          <p:sp>
            <p:nvSpPr>
              <p:cNvPr id="64" name="Google Shape;233;p28"/>
              <p:cNvSpPr/>
              <p:nvPr/>
            </p:nvSpPr>
            <p:spPr>
              <a:xfrm rot="10800000" flipH="1">
                <a:off x="2464266" y="1624082"/>
                <a:ext cx="242249" cy="266132"/>
              </a:xfrm>
              <a:prstGeom prst="rtTriangle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endParaRPr sz="4500" b="1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Google Shape;234;p28"/>
              <p:cNvSpPr/>
              <p:nvPr/>
            </p:nvSpPr>
            <p:spPr>
              <a:xfrm rot="10800000">
                <a:off x="1333208" y="1624082"/>
                <a:ext cx="242249" cy="266132"/>
              </a:xfrm>
              <a:prstGeom prst="rtTriangle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endParaRPr sz="4500" b="1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63" name="Google Shape;235;p28"/>
            <p:cNvSpPr/>
            <p:nvPr/>
          </p:nvSpPr>
          <p:spPr>
            <a:xfrm>
              <a:off x="902118" y="3235273"/>
              <a:ext cx="951221" cy="725317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r>
                <a:rPr lang="en-US" sz="4500" b="1" dirty="0" smtClean="0">
                  <a:solidFill>
                    <a:srgbClr val="FFFFFF"/>
                  </a:solidFill>
                </a:rPr>
                <a:t>04</a:t>
              </a:r>
              <a:endParaRPr sz="1050" dirty="0"/>
            </a:p>
          </p:txBody>
        </p:sp>
      </p:grpSp>
      <p:sp>
        <p:nvSpPr>
          <p:cNvPr id="67" name="Google Shape;237;p28"/>
          <p:cNvSpPr/>
          <p:nvPr/>
        </p:nvSpPr>
        <p:spPr>
          <a:xfrm>
            <a:off x="1685928" y="4363548"/>
            <a:ext cx="3841569" cy="608050"/>
          </a:xfrm>
          <a:prstGeom prst="homePlate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3500000" algn="br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296466"/>
            <a:r>
              <a:rPr lang="en-US" sz="1350" b="1" dirty="0" smtClean="0">
                <a:solidFill>
                  <a:srgbClr val="FFFFFF"/>
                </a:solidFill>
              </a:rPr>
              <a:t>Exam</a:t>
            </a:r>
            <a:endParaRPr sz="1350" b="1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" name="Google Shape;238;p28"/>
          <p:cNvSpPr/>
          <p:nvPr/>
        </p:nvSpPr>
        <p:spPr>
          <a:xfrm>
            <a:off x="1" y="4363547"/>
            <a:ext cx="1069528" cy="60805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3500000" algn="br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70" name="Google Shape;240;p28"/>
          <p:cNvGrpSpPr/>
          <p:nvPr/>
        </p:nvGrpSpPr>
        <p:grpSpPr>
          <a:xfrm>
            <a:off x="901526" y="4830865"/>
            <a:ext cx="952405" cy="140733"/>
            <a:chOff x="1333208" y="1624082"/>
            <a:chExt cx="1373307" cy="266132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72" name="Google Shape;241;p28"/>
            <p:cNvSpPr/>
            <p:nvPr/>
          </p:nvSpPr>
          <p:spPr>
            <a:xfrm rot="10800000" flipH="1">
              <a:off x="2464266" y="1624082"/>
              <a:ext cx="242249" cy="266132"/>
            </a:xfrm>
            <a:prstGeom prst="rtTriangle">
              <a:avLst/>
            </a:prstGeom>
            <a:grpFill/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4500" b="1">
                <a:solidFill>
                  <a:srgbClr val="FFFFFF"/>
                </a:solidFill>
              </a:endParaRPr>
            </a:p>
          </p:txBody>
        </p:sp>
        <p:sp>
          <p:nvSpPr>
            <p:cNvPr id="73" name="Google Shape;242;p28"/>
            <p:cNvSpPr/>
            <p:nvPr/>
          </p:nvSpPr>
          <p:spPr>
            <a:xfrm rot="10800000">
              <a:off x="1333208" y="1624082"/>
              <a:ext cx="242249" cy="266132"/>
            </a:xfrm>
            <a:prstGeom prst="rtTriangle">
              <a:avLst/>
            </a:prstGeom>
            <a:grpFill/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4500" b="1">
                <a:solidFill>
                  <a:srgbClr val="FFFFFF"/>
                </a:solidFill>
              </a:endParaRPr>
            </a:p>
          </p:txBody>
        </p:sp>
      </p:grpSp>
      <p:sp>
        <p:nvSpPr>
          <p:cNvPr id="71" name="Google Shape;243;p28"/>
          <p:cNvSpPr/>
          <p:nvPr/>
        </p:nvSpPr>
        <p:spPr>
          <a:xfrm>
            <a:off x="902118" y="4109157"/>
            <a:ext cx="951221" cy="72531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r>
              <a:rPr lang="en-US" sz="4500" b="1" dirty="0" smtClean="0">
                <a:solidFill>
                  <a:srgbClr val="FFFFFF"/>
                </a:solidFill>
              </a:rPr>
              <a:t>05</a:t>
            </a:r>
            <a:endParaRPr sz="1050" dirty="0"/>
          </a:p>
        </p:txBody>
      </p:sp>
      <p:sp>
        <p:nvSpPr>
          <p:cNvPr id="74" name="Google Shape;252;p28"/>
          <p:cNvSpPr/>
          <p:nvPr/>
        </p:nvSpPr>
        <p:spPr>
          <a:xfrm>
            <a:off x="5357102" y="3489662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" name="Google Shape;253;p28"/>
          <p:cNvSpPr/>
          <p:nvPr/>
        </p:nvSpPr>
        <p:spPr>
          <a:xfrm>
            <a:off x="5357102" y="4381452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46621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0" y="2150850"/>
            <a:ext cx="6858000" cy="841725"/>
          </a:xfrm>
          <a:solidFill>
            <a:srgbClr val="0070C0"/>
          </a:solidFill>
        </p:spPr>
        <p:txBody>
          <a:bodyPr/>
          <a:lstStyle/>
          <a:p>
            <a:r>
              <a:rPr lang="en-PH" dirty="0" smtClean="0"/>
              <a:t>INITIAL PROCESS ASSESSMENT(IPA) QUESTIONNAIRE</a:t>
            </a:r>
            <a:endParaRPr lang="en-PH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3778" y="215503"/>
            <a:ext cx="1607344" cy="1607344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47160" y="3457575"/>
            <a:ext cx="1735931" cy="148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2125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2055791"/>
              </p:ext>
            </p:extLst>
          </p:nvPr>
        </p:nvGraphicFramePr>
        <p:xfrm>
          <a:off x="667350" y="493918"/>
          <a:ext cx="7783631" cy="43225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13172"/>
                <a:gridCol w="3070459"/>
              </a:tblGrid>
              <a:tr h="447909">
                <a:tc>
                  <a:txBody>
                    <a:bodyPr/>
                    <a:lstStyle/>
                    <a:p>
                      <a:pPr algn="ctr"/>
                      <a:r>
                        <a:rPr lang="en-PH" sz="2000" b="1" i="0" u="none" strike="noStrike" cap="non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Question</a:t>
                      </a:r>
                      <a:endParaRPr lang="en-PH" sz="2000" b="1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sz="2000" dirty="0" smtClean="0"/>
                        <a:t>Answer</a:t>
                      </a:r>
                      <a:endParaRPr lang="en-PH" sz="2000" dirty="0"/>
                    </a:p>
                  </a:txBody>
                  <a:tcPr>
                    <a:solidFill>
                      <a:srgbClr val="0070C0"/>
                    </a:solidFill>
                  </a:tcPr>
                </a:tc>
              </a:tr>
              <a:tr h="44773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PH" sz="1400" b="0" i="0" u="none" strike="noStrike" cap="non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What is the name of your nominated RPA process?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PH" sz="1050" b="0" i="0" u="none" strike="noStrike" cap="none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Calculate Client Security Hash 	</a:t>
                      </a:r>
                    </a:p>
                    <a:p>
                      <a:endParaRPr lang="en-PH" sz="1050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56019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PH" sz="1400" b="0" i="0" u="none" strike="noStrike" cap="non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Give a brief overview of the process.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50" b="0" i="0" u="none" strike="noStrike" cap="none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Generate the Security Hash for each Client based on their personal information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8835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PH" sz="1400" b="0" i="0" u="none" strike="noStrike" cap="non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What applications/platforms are being used by the agent in this process?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50" b="0" i="0" u="none" strike="noStrike" cap="none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ACME System 1 web application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PH" sz="1050" b="0" i="0" u="none" strike="noStrike" cap="none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SHA1 Online webpage 	</a:t>
                      </a:r>
                    </a:p>
                    <a:p>
                      <a:endParaRPr lang="en-PH" sz="1050" b="0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4913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PH" sz="1400" b="0" i="0" u="none" strike="noStrike" cap="none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How many</a:t>
                      </a:r>
                      <a:r>
                        <a:rPr lang="en-PH" sz="1400" b="0" i="0" u="none" strike="noStrike" cap="none" baseline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times does the “screen” switch when executing the whole process? (Count of screen changes across the whole process.)</a:t>
                      </a:r>
                      <a:endParaRPr lang="en-PH" sz="1400" b="0" i="0" u="none" strike="noStrike" cap="none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PH" smtClean="0"/>
                        <a:t>9</a:t>
                      </a:r>
                      <a:endParaRPr lang="en-PH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2584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PH" sz="1400" b="0" i="0" u="none" strike="noStrike" cap="non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Does the agent need remote access (e.g. Citrix) to execute this process?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PH" dirty="0" smtClean="0"/>
                        <a:t>No</a:t>
                      </a:r>
                      <a:endParaRPr lang="en-PH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2584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PH" sz="1400" b="0" i="0" u="none" strike="noStrike" cap="non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Does any of the steps in executing this process have RPA involved?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PH" smtClean="0"/>
                        <a:t>No</a:t>
                      </a:r>
                      <a:endParaRPr lang="en-PH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" name="Google Shape;66;p15"/>
          <p:cNvSpPr txBox="1">
            <a:spLocks/>
          </p:cNvSpPr>
          <p:nvPr/>
        </p:nvSpPr>
        <p:spPr>
          <a:xfrm>
            <a:off x="311700" y="42903"/>
            <a:ext cx="8520600" cy="52968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Aft>
                <a:spcPts val="1600"/>
              </a:spcAft>
            </a:pPr>
            <a:r>
              <a:rPr lang="en-US" sz="2000" b="1" dirty="0" smtClean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Let’s know more about your selected process</a:t>
            </a:r>
            <a:endParaRPr lang="en-US" sz="20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345633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6;p15"/>
          <p:cNvSpPr txBox="1">
            <a:spLocks/>
          </p:cNvSpPr>
          <p:nvPr/>
        </p:nvSpPr>
        <p:spPr>
          <a:xfrm>
            <a:off x="311700" y="42903"/>
            <a:ext cx="8520600" cy="52968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14300" indent="0">
              <a:buNone/>
            </a:pPr>
            <a:r>
              <a:rPr lang="en-PH" sz="2000" b="1" dirty="0">
                <a:solidFill>
                  <a:schemeClr val="bg1"/>
                </a:solidFill>
              </a:rPr>
              <a:t>What kind of information are you handling in this process?</a:t>
            </a:r>
            <a:endParaRPr lang="en-PH" sz="2000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1643919"/>
              </p:ext>
            </p:extLst>
          </p:nvPr>
        </p:nvGraphicFramePr>
        <p:xfrm>
          <a:off x="667350" y="883389"/>
          <a:ext cx="7783631" cy="38733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13172"/>
                <a:gridCol w="3070459"/>
              </a:tblGrid>
              <a:tr h="504756">
                <a:tc>
                  <a:txBody>
                    <a:bodyPr/>
                    <a:lstStyle/>
                    <a:p>
                      <a:pPr algn="ctr"/>
                      <a:r>
                        <a:rPr lang="en-PH" sz="2000" b="1" i="0" u="none" strike="noStrike" cap="non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Question</a:t>
                      </a:r>
                      <a:endParaRPr lang="en-PH" sz="2000" b="1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sz="2000" dirty="0" smtClean="0"/>
                        <a:t>Answer</a:t>
                      </a:r>
                      <a:endParaRPr lang="en-PH" sz="2000" dirty="0"/>
                    </a:p>
                  </a:txBody>
                  <a:tcPr>
                    <a:solidFill>
                      <a:srgbClr val="0070C0"/>
                    </a:solidFill>
                  </a:tcPr>
                </a:tc>
              </a:tr>
              <a:tr h="50455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b="0" i="0" u="none" strike="noStrike" cap="none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How many input data, regardless if it’s standard or free text, does the process have?</a:t>
                      </a:r>
                      <a:endParaRPr lang="en-PH" sz="1400" b="0" i="0" u="none" strike="noStrike" cap="none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PH" smtClean="0"/>
                        <a:t>2</a:t>
                      </a:r>
                      <a:endParaRPr lang="en-PH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50455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PH" sz="1400" b="0" i="0" u="none" strike="noStrike" cap="none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Are there any free texts (structured/unstructured) information involved in this process?</a:t>
                      </a:r>
                      <a:endParaRPr lang="en-PH" sz="1400" b="0" i="0" u="none" strike="noStrike" cap="none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PH" dirty="0" smtClean="0"/>
                        <a:t>Yes</a:t>
                      </a:r>
                      <a:endParaRPr lang="en-PH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3129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PH" sz="1400" b="0" i="0" u="none" strike="noStrike" cap="non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If yes, where do unstructured information come from?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50" b="0" i="0" u="none" strike="noStrike" cap="none" baseline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ACME System 1 web application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99568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PH" sz="1400" b="0" i="0" u="none" strike="noStrike" cap="non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Are there any scanned documents/images involved in order for the agent to execute this process?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PH" dirty="0" smtClean="0"/>
                        <a:t>No</a:t>
                      </a:r>
                      <a:endParaRPr lang="en-PH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705276">
                <a:tc>
                  <a:txBody>
                    <a:bodyPr/>
                    <a:lstStyle/>
                    <a:p>
                      <a:r>
                        <a:rPr lang="en-PH" sz="1400" b="0" i="0" u="none" strike="noStrike" cap="non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What is the expected output of this process?</a:t>
                      </a:r>
                      <a:endParaRPr lang="en-PH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PH" sz="1050" b="0" i="0" u="none" strike="noStrike" cap="none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Update the client security hash of</a:t>
                      </a:r>
                      <a:r>
                        <a:rPr lang="en-PH" sz="1050" b="0" i="0" u="none" strike="noStrike" cap="none" baseline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the work items</a:t>
                      </a:r>
                      <a:endParaRPr lang="en-PH" sz="1050" b="0" i="0" u="none" strike="noStrike" cap="none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  <a:p>
                      <a:endParaRPr lang="en-PH" sz="1050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03344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6;p15"/>
          <p:cNvSpPr txBox="1">
            <a:spLocks/>
          </p:cNvSpPr>
          <p:nvPr/>
        </p:nvSpPr>
        <p:spPr>
          <a:xfrm>
            <a:off x="311700" y="42903"/>
            <a:ext cx="8520600" cy="52968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14300" indent="0">
              <a:buNone/>
            </a:pPr>
            <a:r>
              <a:rPr lang="en-PH" sz="2000" b="1" dirty="0">
                <a:solidFill>
                  <a:schemeClr val="bg1"/>
                </a:solidFill>
              </a:rPr>
              <a:t>Let’s know more about what you </a:t>
            </a:r>
            <a:r>
              <a:rPr lang="en-PH" sz="2000" b="1" dirty="0" smtClean="0">
                <a:solidFill>
                  <a:schemeClr val="bg1"/>
                </a:solidFill>
              </a:rPr>
              <a:t>do.</a:t>
            </a:r>
            <a:endParaRPr lang="en-PH" sz="2000" dirty="0">
              <a:solidFill>
                <a:schemeClr val="bg1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2816884"/>
              </p:ext>
            </p:extLst>
          </p:nvPr>
        </p:nvGraphicFramePr>
        <p:xfrm>
          <a:off x="906717" y="916126"/>
          <a:ext cx="7622560" cy="32599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49240"/>
                <a:gridCol w="2573320"/>
              </a:tblGrid>
              <a:tr h="489928">
                <a:tc>
                  <a:txBody>
                    <a:bodyPr/>
                    <a:lstStyle/>
                    <a:p>
                      <a:pPr algn="ctr"/>
                      <a:r>
                        <a:rPr lang="en-PH" sz="2000" b="1" i="0" u="none" strike="noStrike" cap="non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Question</a:t>
                      </a:r>
                      <a:endParaRPr lang="en-PH" sz="2000" b="1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sz="2000" dirty="0" smtClean="0"/>
                        <a:t>Answer</a:t>
                      </a:r>
                      <a:endParaRPr lang="en-PH" sz="2000" dirty="0"/>
                    </a:p>
                  </a:txBody>
                  <a:tcPr>
                    <a:solidFill>
                      <a:srgbClr val="0070C0"/>
                    </a:solidFill>
                  </a:tcPr>
                </a:tc>
              </a:tr>
              <a:tr h="603005">
                <a:tc>
                  <a:txBody>
                    <a:bodyPr/>
                    <a:lstStyle/>
                    <a:p>
                      <a:pPr lvl="0"/>
                      <a:r>
                        <a:rPr lang="en-PH" sz="1400" b="0" i="0" u="none" strike="noStrike" cap="none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How long has this process existed?</a:t>
                      </a:r>
                      <a:endParaRPr lang="en-PH" sz="14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PH" sz="1050" b="0" i="0" u="none" strike="noStrike" cap="none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1 year</a:t>
                      </a:r>
                      <a:endParaRPr lang="en-PH" sz="1050" b="0" i="0" u="none" strike="noStrike" cap="none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03005">
                <a:tc>
                  <a:txBody>
                    <a:bodyPr/>
                    <a:lstStyle/>
                    <a:p>
                      <a:pPr lvl="0"/>
                      <a:r>
                        <a:rPr lang="en-PH" sz="1400" b="0" i="0" u="none" strike="noStrike" cap="non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What are the operating hours for the execution of this process?</a:t>
                      </a:r>
                      <a:endParaRPr lang="en-PH" sz="14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PH" sz="1050" b="0" i="0" u="none" strike="noStrike" cap="non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8AM</a:t>
                      </a:r>
                      <a:r>
                        <a:rPr lang="en-PH" sz="1050" b="0" i="0" u="none" strike="noStrike" cap="none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– 5PM</a:t>
                      </a:r>
                      <a:endParaRPr lang="en-PH" sz="1050" b="0" i="0" u="none" strike="noStrike" cap="none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5800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PH" sz="1400" b="0" i="0" u="none" strike="noStrike" cap="non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How often is this process executed?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PH" sz="1050" dirty="0" smtClean="0"/>
                        <a:t>Daily</a:t>
                      </a:r>
                      <a:endParaRPr lang="en-PH" sz="1050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0300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PH" sz="1400" b="0" i="0" u="none" strike="noStrike" cap="non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How many total man hours are needed to execute this process?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PH" sz="1050" dirty="0" smtClean="0"/>
                        <a:t>1</a:t>
                      </a:r>
                      <a:r>
                        <a:rPr lang="en-PH" sz="1050" baseline="0" dirty="0" smtClean="0"/>
                        <a:t> FTE = 8 hours</a:t>
                      </a:r>
                      <a:endParaRPr lang="en-PH" sz="1050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03005">
                <a:tc>
                  <a:txBody>
                    <a:bodyPr/>
                    <a:lstStyle/>
                    <a:p>
                      <a:r>
                        <a:rPr lang="en-PH" sz="1400" b="0" i="0" u="none" strike="noStrike" cap="non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What’s the average amount of transaction requests coming in for this process? </a:t>
                      </a:r>
                      <a:endParaRPr lang="en-PH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PH" sz="1050" b="0" i="0" u="none" strike="noStrike" cap="non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11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85639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6;p15"/>
          <p:cNvSpPr txBox="1">
            <a:spLocks/>
          </p:cNvSpPr>
          <p:nvPr/>
        </p:nvSpPr>
        <p:spPr>
          <a:xfrm>
            <a:off x="311700" y="42903"/>
            <a:ext cx="8520600" cy="52968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14300" indent="0">
              <a:buNone/>
            </a:pPr>
            <a:r>
              <a:rPr lang="en-PH" sz="2000" b="1" dirty="0">
                <a:solidFill>
                  <a:schemeClr val="bg1"/>
                </a:solidFill>
              </a:rPr>
              <a:t>Let’s know more about what you </a:t>
            </a:r>
            <a:r>
              <a:rPr lang="en-PH" sz="2000" b="1" dirty="0" smtClean="0">
                <a:solidFill>
                  <a:schemeClr val="bg1"/>
                </a:solidFill>
              </a:rPr>
              <a:t>do.</a:t>
            </a:r>
            <a:endParaRPr lang="en-PH" sz="2000" dirty="0">
              <a:solidFill>
                <a:schemeClr val="bg1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999541"/>
              </p:ext>
            </p:extLst>
          </p:nvPr>
        </p:nvGraphicFramePr>
        <p:xfrm>
          <a:off x="1021977" y="977598"/>
          <a:ext cx="7283007" cy="28685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24318"/>
                <a:gridCol w="2458689"/>
              </a:tblGrid>
              <a:tr h="420993">
                <a:tc>
                  <a:txBody>
                    <a:bodyPr/>
                    <a:lstStyle/>
                    <a:p>
                      <a:pPr algn="ctr"/>
                      <a:r>
                        <a:rPr lang="en-PH" sz="2000" b="1" i="0" u="none" strike="noStrike" cap="non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Question</a:t>
                      </a:r>
                      <a:endParaRPr lang="en-PH" sz="2000" b="1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sz="2000" dirty="0" smtClean="0"/>
                        <a:t>Answer</a:t>
                      </a:r>
                      <a:endParaRPr lang="en-PH" sz="2000" dirty="0"/>
                    </a:p>
                  </a:txBody>
                  <a:tcPr>
                    <a:solidFill>
                      <a:srgbClr val="0070C0"/>
                    </a:solidFill>
                  </a:tcPr>
                </a:tc>
              </a:tr>
              <a:tr h="474989">
                <a:tc>
                  <a:txBody>
                    <a:bodyPr/>
                    <a:lstStyle/>
                    <a:p>
                      <a:r>
                        <a:rPr lang="en-PH" sz="1400" b="0" i="0" u="none" strike="noStrike" cap="non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What’s the highest amount of transaction requests coming in for this process? </a:t>
                      </a:r>
                      <a:endParaRPr lang="en-PH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PH" dirty="0" smtClean="0"/>
                        <a:t>15</a:t>
                      </a:r>
                      <a:endParaRPr lang="en-PH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0964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PH" sz="1400" b="0" i="0" u="none" strike="noStrike" cap="non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What is the average handling duration per transaction/item for the execution of this process? (i.e. In minutes)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PH" smtClean="0"/>
                        <a:t>2 minutes/</a:t>
                      </a:r>
                      <a:r>
                        <a:rPr lang="en-PH" baseline="0" smtClean="0"/>
                        <a:t>client</a:t>
                      </a:r>
                      <a:endParaRPr lang="en-PH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2492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PH" sz="1400" b="0" i="0" u="none" strike="noStrike" cap="non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What is the Service Level Agreement (SLA) per transaction/item for the execution of this process? (i.e. in minutes)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PH" sz="1400" b="0" i="0" u="none" strike="noStrike" cap="non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4</a:t>
                      </a:r>
                      <a:r>
                        <a:rPr lang="en-PH" sz="1400" b="0" i="0" u="none" strike="noStrike" cap="none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minutes</a:t>
                      </a:r>
                      <a:endParaRPr lang="en-PH" sz="1400" b="0" i="0" u="none" strike="noStrike" cap="none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  <a:p>
                      <a:endParaRPr lang="en-PH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58823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PH" sz="1400" b="0" i="0" u="none" strike="noStrike" cap="non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Is the business process or system expected to change or be changed within the next 6 months?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PH" dirty="0" smtClean="0"/>
                        <a:t>No</a:t>
                      </a:r>
                      <a:endParaRPr lang="en-PH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81410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6;p15"/>
          <p:cNvSpPr txBox="1">
            <a:spLocks/>
          </p:cNvSpPr>
          <p:nvPr/>
        </p:nvSpPr>
        <p:spPr>
          <a:xfrm>
            <a:off x="311700" y="42903"/>
            <a:ext cx="8520600" cy="52968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14300" indent="0">
              <a:buNone/>
            </a:pPr>
            <a:r>
              <a:rPr lang="en-PH" sz="2000" b="1" dirty="0">
                <a:solidFill>
                  <a:schemeClr val="bg1"/>
                </a:solidFill>
              </a:rPr>
              <a:t>What difficulties do you encounter?</a:t>
            </a:r>
            <a:endParaRPr lang="en-PH" sz="2000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2201797"/>
              </p:ext>
            </p:extLst>
          </p:nvPr>
        </p:nvGraphicFramePr>
        <p:xfrm>
          <a:off x="667350" y="829601"/>
          <a:ext cx="7783631" cy="29165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13172"/>
                <a:gridCol w="3070459"/>
              </a:tblGrid>
              <a:tr h="504756">
                <a:tc>
                  <a:txBody>
                    <a:bodyPr/>
                    <a:lstStyle/>
                    <a:p>
                      <a:pPr algn="ctr"/>
                      <a:r>
                        <a:rPr lang="en-PH" sz="2000" b="1" i="0" u="none" strike="noStrike" cap="non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Question</a:t>
                      </a:r>
                      <a:endParaRPr lang="en-PH" sz="2000" b="1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sz="2000" dirty="0" smtClean="0"/>
                        <a:t>Answer</a:t>
                      </a:r>
                      <a:endParaRPr lang="en-PH" sz="2000" dirty="0"/>
                    </a:p>
                  </a:txBody>
                  <a:tcPr>
                    <a:solidFill>
                      <a:srgbClr val="0070C0"/>
                    </a:solidFill>
                  </a:tcPr>
                </a:tc>
              </a:tr>
              <a:tr h="504559">
                <a:tc>
                  <a:txBody>
                    <a:bodyPr/>
                    <a:lstStyle/>
                    <a:p>
                      <a:pPr lvl="0"/>
                      <a:r>
                        <a:rPr lang="en-PH" sz="1400" b="0" i="0" u="none" strike="noStrike" cap="non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What errors do the agent encounter when executing this process?</a:t>
                      </a:r>
                      <a:endParaRPr lang="en-PH" sz="14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PH" sz="1050" dirty="0" smtClean="0"/>
                        <a:t>Application unresponsive / page not loading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PH" sz="1050" b="0" i="0" u="none" strike="noStrike" cap="none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Incorrect email or password 	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 b="0" i="0" u="none" strike="noStrike" cap="none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No task of type WI5 exists </a:t>
                      </a:r>
                      <a:r>
                        <a:rPr lang="en-US" sz="1400" b="0" i="0" u="none" strike="noStrike" cap="none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	</a:t>
                      </a:r>
                    </a:p>
                    <a:p>
                      <a:endParaRPr lang="en-PH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31292">
                <a:tc>
                  <a:txBody>
                    <a:bodyPr/>
                    <a:lstStyle/>
                    <a:p>
                      <a:pPr lvl="0"/>
                      <a:r>
                        <a:rPr lang="en-PH" sz="1400" b="0" i="0" u="none" strike="noStrike" cap="non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How often does the agent encounter these errors when executing this process?</a:t>
                      </a:r>
                      <a:endParaRPr lang="en-PH" sz="14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PH" sz="1050" b="0" i="0" u="none" strike="noStrike" cap="none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Daily</a:t>
                      </a:r>
                      <a:endParaRPr lang="en-PH" sz="1050" b="0" i="0" u="none" strike="noStrike" cap="none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995684">
                <a:tc>
                  <a:txBody>
                    <a:bodyPr/>
                    <a:lstStyle/>
                    <a:p>
                      <a:pPr lvl="0"/>
                      <a:r>
                        <a:rPr lang="en-PH" sz="1400" b="0" i="0" u="none" strike="noStrike" cap="non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How many times does the agent encounter these errors? (e.g. twice daily, once weekly, etc.)</a:t>
                      </a:r>
                      <a:endParaRPr lang="en-PH" sz="14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PH" sz="1050" b="0" i="0" u="none" strike="noStrike" cap="non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Twice daily</a:t>
                      </a:r>
                      <a:endParaRPr lang="en-PH" sz="1050" b="0" i="0" u="none" strike="noStrike" cap="none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  <a:p>
                      <a:endParaRPr lang="en-PH" sz="1050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91604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0" y="2216675"/>
            <a:ext cx="6858000" cy="572625"/>
          </a:xfrm>
          <a:solidFill>
            <a:srgbClr val="0070C0"/>
          </a:solidFill>
        </p:spPr>
        <p:txBody>
          <a:bodyPr/>
          <a:lstStyle/>
          <a:p>
            <a:pPr algn="ctr"/>
            <a:r>
              <a:rPr lang="en-PH" sz="2700" dirty="0"/>
              <a:t>COMPLEXITY CALCULATOR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07123" y="3305175"/>
            <a:ext cx="2347418" cy="15621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4444" y="163704"/>
            <a:ext cx="2478881" cy="1894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4869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5365444"/>
              </p:ext>
            </p:extLst>
          </p:nvPr>
        </p:nvGraphicFramePr>
        <p:xfrm>
          <a:off x="1700732" y="887384"/>
          <a:ext cx="5529944" cy="414336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764972"/>
                <a:gridCol w="2764972"/>
              </a:tblGrid>
              <a:tr h="258960">
                <a:tc>
                  <a:txBody>
                    <a:bodyPr/>
                    <a:lstStyle/>
                    <a:p>
                      <a:r>
                        <a:rPr lang="en-PH" dirty="0" smtClean="0"/>
                        <a:t>Enter Details Here</a:t>
                      </a:r>
                      <a:endParaRPr lang="en-P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Process Name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Standard Input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Free Text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Is there more than 1 application involved?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Number of Screen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Citrix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smtClean="0">
                          <a:solidFill>
                            <a:schemeClr val="tx1"/>
                          </a:solidFill>
                        </a:rPr>
                        <a:t>OCR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Complexity %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Complexity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Effort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" name="Google Shape;66;p15"/>
          <p:cNvSpPr txBox="1">
            <a:spLocks/>
          </p:cNvSpPr>
          <p:nvPr/>
        </p:nvSpPr>
        <p:spPr>
          <a:xfrm>
            <a:off x="311700" y="42903"/>
            <a:ext cx="8520600" cy="52968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14300" indent="0">
              <a:buNone/>
            </a:pPr>
            <a:r>
              <a:rPr lang="en-PH" sz="2000" b="1" dirty="0" smtClean="0">
                <a:solidFill>
                  <a:schemeClr val="bg1"/>
                </a:solidFill>
              </a:rPr>
              <a:t>What is the name of the process?</a:t>
            </a:r>
            <a:endParaRPr lang="en-PH" sz="2000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465704" y="1121869"/>
            <a:ext cx="2764972" cy="29967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  <p:sp>
        <p:nvSpPr>
          <p:cNvPr id="7" name="Rectangle 6"/>
          <p:cNvSpPr/>
          <p:nvPr/>
        </p:nvSpPr>
        <p:spPr>
          <a:xfrm>
            <a:off x="1700732" y="2189950"/>
            <a:ext cx="5529944" cy="1283233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4007657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3519637"/>
              </p:ext>
            </p:extLst>
          </p:nvPr>
        </p:nvGraphicFramePr>
        <p:xfrm>
          <a:off x="1700732" y="887384"/>
          <a:ext cx="5529944" cy="414336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764972"/>
                <a:gridCol w="2764972"/>
              </a:tblGrid>
              <a:tr h="258960">
                <a:tc>
                  <a:txBody>
                    <a:bodyPr/>
                    <a:lstStyle/>
                    <a:p>
                      <a:r>
                        <a:rPr lang="en-PH" dirty="0" smtClean="0"/>
                        <a:t>Enter Details Here</a:t>
                      </a:r>
                      <a:endParaRPr lang="en-P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Process Name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Calculate</a:t>
                      </a:r>
                      <a:r>
                        <a:rPr lang="en-PH" baseline="0" dirty="0" smtClean="0">
                          <a:solidFill>
                            <a:schemeClr val="tx1"/>
                          </a:solidFill>
                        </a:rPr>
                        <a:t> Client Security Hash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Standard Input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Free Text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Is there more than 1 application involved?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Number of Screen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Citrix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smtClean="0">
                          <a:solidFill>
                            <a:schemeClr val="tx1"/>
                          </a:solidFill>
                        </a:rPr>
                        <a:t>OCR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Complexity %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Complexity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Effort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" name="Google Shape;66;p15"/>
          <p:cNvSpPr txBox="1">
            <a:spLocks/>
          </p:cNvSpPr>
          <p:nvPr/>
        </p:nvSpPr>
        <p:spPr>
          <a:xfrm>
            <a:off x="311700" y="42903"/>
            <a:ext cx="8520600" cy="52968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14300" indent="0">
              <a:buNone/>
            </a:pPr>
            <a:r>
              <a:rPr lang="en-PH" sz="2000" b="1" dirty="0" smtClean="0">
                <a:solidFill>
                  <a:schemeClr val="bg1"/>
                </a:solidFill>
              </a:rPr>
              <a:t>What is the name of the process?</a:t>
            </a:r>
            <a:endParaRPr lang="en-PH" sz="2000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465704" y="1121869"/>
            <a:ext cx="2764972" cy="29967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  <p:sp>
        <p:nvSpPr>
          <p:cNvPr id="7" name="Rectangle 6"/>
          <p:cNvSpPr/>
          <p:nvPr/>
        </p:nvSpPr>
        <p:spPr>
          <a:xfrm>
            <a:off x="1700732" y="2189950"/>
            <a:ext cx="5529944" cy="1283233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3914666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5008178"/>
              </p:ext>
            </p:extLst>
          </p:nvPr>
        </p:nvGraphicFramePr>
        <p:xfrm>
          <a:off x="1700732" y="887384"/>
          <a:ext cx="5529944" cy="414336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764972"/>
                <a:gridCol w="2764972"/>
              </a:tblGrid>
              <a:tr h="258960">
                <a:tc>
                  <a:txBody>
                    <a:bodyPr/>
                    <a:lstStyle/>
                    <a:p>
                      <a:r>
                        <a:rPr lang="en-PH" dirty="0" smtClean="0"/>
                        <a:t>Enter Details Here</a:t>
                      </a:r>
                      <a:endParaRPr lang="en-P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Process Name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Calculate</a:t>
                      </a:r>
                      <a:r>
                        <a:rPr lang="en-PH" baseline="0" dirty="0" smtClean="0">
                          <a:solidFill>
                            <a:schemeClr val="tx1"/>
                          </a:solidFill>
                        </a:rPr>
                        <a:t> Client Security Hash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Standard Input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Free Text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Is there more than 1 application involved?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Number of Screen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Citrix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smtClean="0">
                          <a:solidFill>
                            <a:schemeClr val="tx1"/>
                          </a:solidFill>
                        </a:rPr>
                        <a:t>OCR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Complexity %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Complexity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Effort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" name="Google Shape;66;p15"/>
          <p:cNvSpPr txBox="1">
            <a:spLocks/>
          </p:cNvSpPr>
          <p:nvPr/>
        </p:nvSpPr>
        <p:spPr>
          <a:xfrm>
            <a:off x="311700" y="42903"/>
            <a:ext cx="8520600" cy="52968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14300" indent="0">
              <a:buNone/>
            </a:pPr>
            <a:r>
              <a:rPr lang="en-PH" sz="2000" b="1" dirty="0" smtClean="0">
                <a:solidFill>
                  <a:schemeClr val="bg1"/>
                </a:solidFill>
              </a:rPr>
              <a:t>What % of the data input is free text?</a:t>
            </a:r>
            <a:endParaRPr lang="en-PH" sz="2000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465704" y="1644632"/>
            <a:ext cx="2764972" cy="29967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  <p:sp>
        <p:nvSpPr>
          <p:cNvPr id="7" name="Rectangle 6"/>
          <p:cNvSpPr/>
          <p:nvPr/>
        </p:nvSpPr>
        <p:spPr>
          <a:xfrm>
            <a:off x="1700732" y="2189950"/>
            <a:ext cx="5529944" cy="126786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3903640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" name="Google Shape;501;p54"/>
          <p:cNvSpPr/>
          <p:nvPr/>
        </p:nvSpPr>
        <p:spPr>
          <a:xfrm>
            <a:off x="1530532" y="1965107"/>
            <a:ext cx="7065000" cy="14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2" name="Google Shape;502;p54"/>
          <p:cNvSpPr/>
          <p:nvPr/>
        </p:nvSpPr>
        <p:spPr>
          <a:xfrm>
            <a:off x="1501361" y="1968945"/>
            <a:ext cx="7064903" cy="1427106"/>
          </a:xfrm>
          <a:custGeom>
            <a:avLst/>
            <a:gdLst/>
            <a:ahLst/>
            <a:cxnLst/>
            <a:rect l="l" t="t" r="r" b="b"/>
            <a:pathLst>
              <a:path w="1965" h="395" extrusionOk="0">
                <a:moveTo>
                  <a:pt x="1882" y="127"/>
                </a:moveTo>
                <a:cubicBezTo>
                  <a:pt x="1882" y="271"/>
                  <a:pt x="1882" y="271"/>
                  <a:pt x="1882" y="271"/>
                </a:cubicBezTo>
                <a:cubicBezTo>
                  <a:pt x="1882" y="292"/>
                  <a:pt x="1866" y="309"/>
                  <a:pt x="1846" y="309"/>
                </a:cubicBezTo>
                <a:cubicBezTo>
                  <a:pt x="1687" y="309"/>
                  <a:pt x="1687" y="309"/>
                  <a:pt x="1687" y="309"/>
                </a:cubicBezTo>
                <a:cubicBezTo>
                  <a:pt x="1667" y="309"/>
                  <a:pt x="1651" y="292"/>
                  <a:pt x="1651" y="271"/>
                </a:cubicBezTo>
                <a:cubicBezTo>
                  <a:pt x="1651" y="127"/>
                  <a:pt x="1651" y="127"/>
                  <a:pt x="1651" y="127"/>
                </a:cubicBezTo>
                <a:cubicBezTo>
                  <a:pt x="1651" y="127"/>
                  <a:pt x="1651" y="127"/>
                  <a:pt x="1651" y="127"/>
                </a:cubicBezTo>
                <a:cubicBezTo>
                  <a:pt x="1651" y="125"/>
                  <a:pt x="1651" y="125"/>
                  <a:pt x="1651" y="125"/>
                </a:cubicBezTo>
                <a:cubicBezTo>
                  <a:pt x="1651" y="56"/>
                  <a:pt x="1598" y="0"/>
                  <a:pt x="1532" y="0"/>
                </a:cubicBezTo>
                <a:cubicBezTo>
                  <a:pt x="1374" y="0"/>
                  <a:pt x="1374" y="0"/>
                  <a:pt x="1374" y="0"/>
                </a:cubicBezTo>
                <a:cubicBezTo>
                  <a:pt x="1308" y="0"/>
                  <a:pt x="1255" y="56"/>
                  <a:pt x="1255" y="125"/>
                </a:cubicBezTo>
                <a:cubicBezTo>
                  <a:pt x="1255" y="127"/>
                  <a:pt x="1255" y="127"/>
                  <a:pt x="1255" y="127"/>
                </a:cubicBezTo>
                <a:cubicBezTo>
                  <a:pt x="1254" y="127"/>
                  <a:pt x="1254" y="127"/>
                  <a:pt x="1254" y="127"/>
                </a:cubicBezTo>
                <a:cubicBezTo>
                  <a:pt x="1254" y="271"/>
                  <a:pt x="1254" y="271"/>
                  <a:pt x="1254" y="271"/>
                </a:cubicBezTo>
                <a:cubicBezTo>
                  <a:pt x="1254" y="292"/>
                  <a:pt x="1238" y="309"/>
                  <a:pt x="1218" y="309"/>
                </a:cubicBezTo>
                <a:cubicBezTo>
                  <a:pt x="1060" y="309"/>
                  <a:pt x="1060" y="309"/>
                  <a:pt x="1060" y="309"/>
                </a:cubicBezTo>
                <a:cubicBezTo>
                  <a:pt x="1040" y="309"/>
                  <a:pt x="1023" y="292"/>
                  <a:pt x="1023" y="271"/>
                </a:cubicBezTo>
                <a:cubicBezTo>
                  <a:pt x="1023" y="127"/>
                  <a:pt x="1023" y="127"/>
                  <a:pt x="1023" y="127"/>
                </a:cubicBezTo>
                <a:cubicBezTo>
                  <a:pt x="1023" y="127"/>
                  <a:pt x="1023" y="127"/>
                  <a:pt x="1023" y="127"/>
                </a:cubicBezTo>
                <a:cubicBezTo>
                  <a:pt x="1023" y="125"/>
                  <a:pt x="1023" y="125"/>
                  <a:pt x="1023" y="125"/>
                </a:cubicBezTo>
                <a:cubicBezTo>
                  <a:pt x="1023" y="56"/>
                  <a:pt x="970" y="0"/>
                  <a:pt x="904" y="0"/>
                </a:cubicBezTo>
                <a:cubicBezTo>
                  <a:pt x="746" y="0"/>
                  <a:pt x="746" y="0"/>
                  <a:pt x="746" y="0"/>
                </a:cubicBezTo>
                <a:cubicBezTo>
                  <a:pt x="680" y="0"/>
                  <a:pt x="627" y="56"/>
                  <a:pt x="627" y="125"/>
                </a:cubicBezTo>
                <a:cubicBezTo>
                  <a:pt x="627" y="268"/>
                  <a:pt x="627" y="268"/>
                  <a:pt x="627" y="268"/>
                </a:cubicBezTo>
                <a:cubicBezTo>
                  <a:pt x="627" y="268"/>
                  <a:pt x="627" y="268"/>
                  <a:pt x="627" y="268"/>
                </a:cubicBezTo>
                <a:cubicBezTo>
                  <a:pt x="627" y="271"/>
                  <a:pt x="627" y="271"/>
                  <a:pt x="627" y="271"/>
                </a:cubicBezTo>
                <a:cubicBezTo>
                  <a:pt x="627" y="292"/>
                  <a:pt x="611" y="309"/>
                  <a:pt x="591" y="309"/>
                </a:cubicBezTo>
                <a:cubicBezTo>
                  <a:pt x="433" y="309"/>
                  <a:pt x="433" y="309"/>
                  <a:pt x="433" y="309"/>
                </a:cubicBezTo>
                <a:cubicBezTo>
                  <a:pt x="413" y="309"/>
                  <a:pt x="396" y="292"/>
                  <a:pt x="396" y="271"/>
                </a:cubicBezTo>
                <a:cubicBezTo>
                  <a:pt x="396" y="127"/>
                  <a:pt x="396" y="127"/>
                  <a:pt x="396" y="127"/>
                </a:cubicBezTo>
                <a:cubicBezTo>
                  <a:pt x="396" y="127"/>
                  <a:pt x="396" y="127"/>
                  <a:pt x="396" y="127"/>
                </a:cubicBezTo>
                <a:cubicBezTo>
                  <a:pt x="396" y="125"/>
                  <a:pt x="396" y="125"/>
                  <a:pt x="396" y="125"/>
                </a:cubicBezTo>
                <a:cubicBezTo>
                  <a:pt x="396" y="56"/>
                  <a:pt x="343" y="0"/>
                  <a:pt x="277" y="0"/>
                </a:cubicBezTo>
                <a:cubicBezTo>
                  <a:pt x="119" y="0"/>
                  <a:pt x="119" y="0"/>
                  <a:pt x="119" y="0"/>
                </a:cubicBezTo>
                <a:cubicBezTo>
                  <a:pt x="53" y="0"/>
                  <a:pt x="0" y="56"/>
                  <a:pt x="0" y="125"/>
                </a:cubicBezTo>
                <a:cubicBezTo>
                  <a:pt x="0" y="268"/>
                  <a:pt x="0" y="268"/>
                  <a:pt x="0" y="268"/>
                </a:cubicBezTo>
                <a:cubicBezTo>
                  <a:pt x="83" y="268"/>
                  <a:pt x="83" y="268"/>
                  <a:pt x="83" y="268"/>
                </a:cubicBezTo>
                <a:cubicBezTo>
                  <a:pt x="83" y="125"/>
                  <a:pt x="83" y="125"/>
                  <a:pt x="83" y="125"/>
                </a:cubicBezTo>
                <a:cubicBezTo>
                  <a:pt x="83" y="104"/>
                  <a:pt x="99" y="87"/>
                  <a:pt x="119" y="87"/>
                </a:cubicBezTo>
                <a:cubicBezTo>
                  <a:pt x="277" y="87"/>
                  <a:pt x="277" y="87"/>
                  <a:pt x="277" y="87"/>
                </a:cubicBezTo>
                <a:cubicBezTo>
                  <a:pt x="297" y="87"/>
                  <a:pt x="314" y="104"/>
                  <a:pt x="314" y="125"/>
                </a:cubicBezTo>
                <a:cubicBezTo>
                  <a:pt x="314" y="268"/>
                  <a:pt x="314" y="268"/>
                  <a:pt x="314" y="268"/>
                </a:cubicBezTo>
                <a:cubicBezTo>
                  <a:pt x="314" y="268"/>
                  <a:pt x="314" y="268"/>
                  <a:pt x="314" y="268"/>
                </a:cubicBezTo>
                <a:cubicBezTo>
                  <a:pt x="314" y="271"/>
                  <a:pt x="314" y="271"/>
                  <a:pt x="314" y="271"/>
                </a:cubicBezTo>
                <a:cubicBezTo>
                  <a:pt x="314" y="340"/>
                  <a:pt x="367" y="395"/>
                  <a:pt x="433" y="395"/>
                </a:cubicBezTo>
                <a:cubicBezTo>
                  <a:pt x="591" y="395"/>
                  <a:pt x="591" y="395"/>
                  <a:pt x="591" y="395"/>
                </a:cubicBezTo>
                <a:cubicBezTo>
                  <a:pt x="657" y="395"/>
                  <a:pt x="710" y="340"/>
                  <a:pt x="710" y="271"/>
                </a:cubicBezTo>
                <a:cubicBezTo>
                  <a:pt x="710" y="127"/>
                  <a:pt x="710" y="127"/>
                  <a:pt x="710" y="127"/>
                </a:cubicBezTo>
                <a:cubicBezTo>
                  <a:pt x="710" y="127"/>
                  <a:pt x="710" y="127"/>
                  <a:pt x="710" y="127"/>
                </a:cubicBezTo>
                <a:cubicBezTo>
                  <a:pt x="710" y="125"/>
                  <a:pt x="710" y="125"/>
                  <a:pt x="710" y="125"/>
                </a:cubicBezTo>
                <a:cubicBezTo>
                  <a:pt x="710" y="104"/>
                  <a:pt x="726" y="87"/>
                  <a:pt x="746" y="87"/>
                </a:cubicBezTo>
                <a:cubicBezTo>
                  <a:pt x="904" y="87"/>
                  <a:pt x="904" y="87"/>
                  <a:pt x="904" y="87"/>
                </a:cubicBezTo>
                <a:cubicBezTo>
                  <a:pt x="924" y="87"/>
                  <a:pt x="941" y="104"/>
                  <a:pt x="941" y="125"/>
                </a:cubicBezTo>
                <a:cubicBezTo>
                  <a:pt x="941" y="268"/>
                  <a:pt x="941" y="268"/>
                  <a:pt x="941" y="268"/>
                </a:cubicBezTo>
                <a:cubicBezTo>
                  <a:pt x="941" y="268"/>
                  <a:pt x="941" y="268"/>
                  <a:pt x="941" y="268"/>
                </a:cubicBezTo>
                <a:cubicBezTo>
                  <a:pt x="941" y="271"/>
                  <a:pt x="941" y="271"/>
                  <a:pt x="941" y="271"/>
                </a:cubicBezTo>
                <a:cubicBezTo>
                  <a:pt x="941" y="340"/>
                  <a:pt x="994" y="395"/>
                  <a:pt x="1060" y="395"/>
                </a:cubicBezTo>
                <a:cubicBezTo>
                  <a:pt x="1218" y="395"/>
                  <a:pt x="1218" y="395"/>
                  <a:pt x="1218" y="395"/>
                </a:cubicBezTo>
                <a:cubicBezTo>
                  <a:pt x="1284" y="395"/>
                  <a:pt x="1337" y="340"/>
                  <a:pt x="1337" y="271"/>
                </a:cubicBezTo>
                <a:cubicBezTo>
                  <a:pt x="1337" y="268"/>
                  <a:pt x="1337" y="268"/>
                  <a:pt x="1337" y="268"/>
                </a:cubicBezTo>
                <a:cubicBezTo>
                  <a:pt x="1337" y="268"/>
                  <a:pt x="1337" y="268"/>
                  <a:pt x="1337" y="268"/>
                </a:cubicBezTo>
                <a:cubicBezTo>
                  <a:pt x="1337" y="125"/>
                  <a:pt x="1337" y="125"/>
                  <a:pt x="1337" y="125"/>
                </a:cubicBezTo>
                <a:cubicBezTo>
                  <a:pt x="1337" y="104"/>
                  <a:pt x="1354" y="87"/>
                  <a:pt x="1374" y="87"/>
                </a:cubicBezTo>
                <a:cubicBezTo>
                  <a:pt x="1532" y="87"/>
                  <a:pt x="1532" y="87"/>
                  <a:pt x="1532" y="87"/>
                </a:cubicBezTo>
                <a:cubicBezTo>
                  <a:pt x="1552" y="87"/>
                  <a:pt x="1568" y="104"/>
                  <a:pt x="1568" y="125"/>
                </a:cubicBezTo>
                <a:cubicBezTo>
                  <a:pt x="1568" y="268"/>
                  <a:pt x="1568" y="268"/>
                  <a:pt x="1568" y="268"/>
                </a:cubicBezTo>
                <a:cubicBezTo>
                  <a:pt x="1568" y="268"/>
                  <a:pt x="1568" y="268"/>
                  <a:pt x="1568" y="268"/>
                </a:cubicBezTo>
                <a:cubicBezTo>
                  <a:pt x="1568" y="271"/>
                  <a:pt x="1568" y="271"/>
                  <a:pt x="1568" y="271"/>
                </a:cubicBezTo>
                <a:cubicBezTo>
                  <a:pt x="1568" y="340"/>
                  <a:pt x="1622" y="395"/>
                  <a:pt x="1687" y="395"/>
                </a:cubicBezTo>
                <a:cubicBezTo>
                  <a:pt x="1846" y="395"/>
                  <a:pt x="1846" y="395"/>
                  <a:pt x="1846" y="395"/>
                </a:cubicBezTo>
                <a:cubicBezTo>
                  <a:pt x="1911" y="395"/>
                  <a:pt x="1965" y="340"/>
                  <a:pt x="1965" y="271"/>
                </a:cubicBezTo>
                <a:cubicBezTo>
                  <a:pt x="1965" y="127"/>
                  <a:pt x="1965" y="127"/>
                  <a:pt x="1965" y="127"/>
                </a:cubicBezTo>
                <a:lnTo>
                  <a:pt x="1882" y="12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3" name="Google Shape;503;p54"/>
          <p:cNvSpPr/>
          <p:nvPr/>
        </p:nvSpPr>
        <p:spPr>
          <a:xfrm>
            <a:off x="1501361" y="1968945"/>
            <a:ext cx="7064903" cy="1427106"/>
          </a:xfrm>
          <a:custGeom>
            <a:avLst/>
            <a:gdLst/>
            <a:ahLst/>
            <a:cxnLst/>
            <a:rect l="l" t="t" r="r" b="b"/>
            <a:pathLst>
              <a:path w="1965" h="395" extrusionOk="0">
                <a:moveTo>
                  <a:pt x="1882" y="268"/>
                </a:moveTo>
                <a:cubicBezTo>
                  <a:pt x="1882" y="125"/>
                  <a:pt x="1882" y="125"/>
                  <a:pt x="1882" y="125"/>
                </a:cubicBezTo>
                <a:cubicBezTo>
                  <a:pt x="1882" y="104"/>
                  <a:pt x="1866" y="87"/>
                  <a:pt x="1846" y="87"/>
                </a:cubicBezTo>
                <a:cubicBezTo>
                  <a:pt x="1687" y="87"/>
                  <a:pt x="1687" y="87"/>
                  <a:pt x="1687" y="87"/>
                </a:cubicBezTo>
                <a:cubicBezTo>
                  <a:pt x="1667" y="87"/>
                  <a:pt x="1651" y="104"/>
                  <a:pt x="1651" y="125"/>
                </a:cubicBezTo>
                <a:cubicBezTo>
                  <a:pt x="1651" y="268"/>
                  <a:pt x="1651" y="268"/>
                  <a:pt x="1651" y="268"/>
                </a:cubicBezTo>
                <a:cubicBezTo>
                  <a:pt x="1651" y="268"/>
                  <a:pt x="1651" y="268"/>
                  <a:pt x="1651" y="268"/>
                </a:cubicBezTo>
                <a:cubicBezTo>
                  <a:pt x="1651" y="271"/>
                  <a:pt x="1651" y="271"/>
                  <a:pt x="1651" y="271"/>
                </a:cubicBezTo>
                <a:cubicBezTo>
                  <a:pt x="1651" y="340"/>
                  <a:pt x="1598" y="395"/>
                  <a:pt x="1532" y="395"/>
                </a:cubicBezTo>
                <a:cubicBezTo>
                  <a:pt x="1374" y="395"/>
                  <a:pt x="1374" y="395"/>
                  <a:pt x="1374" y="395"/>
                </a:cubicBezTo>
                <a:cubicBezTo>
                  <a:pt x="1308" y="395"/>
                  <a:pt x="1255" y="340"/>
                  <a:pt x="1255" y="271"/>
                </a:cubicBezTo>
                <a:cubicBezTo>
                  <a:pt x="1255" y="268"/>
                  <a:pt x="1255" y="268"/>
                  <a:pt x="1255" y="268"/>
                </a:cubicBezTo>
                <a:cubicBezTo>
                  <a:pt x="1254" y="268"/>
                  <a:pt x="1254" y="268"/>
                  <a:pt x="1254" y="268"/>
                </a:cubicBezTo>
                <a:cubicBezTo>
                  <a:pt x="1254" y="125"/>
                  <a:pt x="1254" y="125"/>
                  <a:pt x="1254" y="125"/>
                </a:cubicBezTo>
                <a:cubicBezTo>
                  <a:pt x="1254" y="104"/>
                  <a:pt x="1238" y="87"/>
                  <a:pt x="1218" y="87"/>
                </a:cubicBezTo>
                <a:cubicBezTo>
                  <a:pt x="1060" y="87"/>
                  <a:pt x="1060" y="87"/>
                  <a:pt x="1060" y="87"/>
                </a:cubicBezTo>
                <a:cubicBezTo>
                  <a:pt x="1040" y="87"/>
                  <a:pt x="1023" y="104"/>
                  <a:pt x="1023" y="125"/>
                </a:cubicBezTo>
                <a:cubicBezTo>
                  <a:pt x="1023" y="268"/>
                  <a:pt x="1023" y="268"/>
                  <a:pt x="1023" y="268"/>
                </a:cubicBezTo>
                <a:cubicBezTo>
                  <a:pt x="1023" y="268"/>
                  <a:pt x="1023" y="268"/>
                  <a:pt x="1023" y="268"/>
                </a:cubicBezTo>
                <a:cubicBezTo>
                  <a:pt x="1023" y="271"/>
                  <a:pt x="1023" y="271"/>
                  <a:pt x="1023" y="271"/>
                </a:cubicBezTo>
                <a:cubicBezTo>
                  <a:pt x="1023" y="340"/>
                  <a:pt x="970" y="395"/>
                  <a:pt x="904" y="395"/>
                </a:cubicBezTo>
                <a:cubicBezTo>
                  <a:pt x="746" y="395"/>
                  <a:pt x="746" y="395"/>
                  <a:pt x="746" y="395"/>
                </a:cubicBezTo>
                <a:cubicBezTo>
                  <a:pt x="680" y="395"/>
                  <a:pt x="627" y="340"/>
                  <a:pt x="627" y="271"/>
                </a:cubicBezTo>
                <a:cubicBezTo>
                  <a:pt x="627" y="127"/>
                  <a:pt x="627" y="127"/>
                  <a:pt x="627" y="127"/>
                </a:cubicBezTo>
                <a:cubicBezTo>
                  <a:pt x="627" y="127"/>
                  <a:pt x="627" y="127"/>
                  <a:pt x="627" y="127"/>
                </a:cubicBezTo>
                <a:cubicBezTo>
                  <a:pt x="627" y="125"/>
                  <a:pt x="627" y="125"/>
                  <a:pt x="627" y="125"/>
                </a:cubicBezTo>
                <a:cubicBezTo>
                  <a:pt x="627" y="104"/>
                  <a:pt x="611" y="87"/>
                  <a:pt x="591" y="87"/>
                </a:cubicBezTo>
                <a:cubicBezTo>
                  <a:pt x="433" y="87"/>
                  <a:pt x="433" y="87"/>
                  <a:pt x="433" y="87"/>
                </a:cubicBezTo>
                <a:cubicBezTo>
                  <a:pt x="413" y="87"/>
                  <a:pt x="396" y="104"/>
                  <a:pt x="396" y="125"/>
                </a:cubicBezTo>
                <a:cubicBezTo>
                  <a:pt x="396" y="268"/>
                  <a:pt x="396" y="268"/>
                  <a:pt x="396" y="268"/>
                </a:cubicBezTo>
                <a:cubicBezTo>
                  <a:pt x="396" y="268"/>
                  <a:pt x="396" y="268"/>
                  <a:pt x="396" y="268"/>
                </a:cubicBezTo>
                <a:cubicBezTo>
                  <a:pt x="396" y="271"/>
                  <a:pt x="396" y="271"/>
                  <a:pt x="396" y="271"/>
                </a:cubicBezTo>
                <a:cubicBezTo>
                  <a:pt x="396" y="340"/>
                  <a:pt x="343" y="395"/>
                  <a:pt x="277" y="395"/>
                </a:cubicBezTo>
                <a:cubicBezTo>
                  <a:pt x="119" y="395"/>
                  <a:pt x="119" y="395"/>
                  <a:pt x="119" y="395"/>
                </a:cubicBezTo>
                <a:cubicBezTo>
                  <a:pt x="53" y="395"/>
                  <a:pt x="0" y="340"/>
                  <a:pt x="0" y="271"/>
                </a:cubicBezTo>
                <a:cubicBezTo>
                  <a:pt x="0" y="127"/>
                  <a:pt x="0" y="127"/>
                  <a:pt x="0" y="127"/>
                </a:cubicBezTo>
                <a:cubicBezTo>
                  <a:pt x="83" y="127"/>
                  <a:pt x="83" y="127"/>
                  <a:pt x="83" y="127"/>
                </a:cubicBezTo>
                <a:cubicBezTo>
                  <a:pt x="83" y="271"/>
                  <a:pt x="83" y="271"/>
                  <a:pt x="83" y="271"/>
                </a:cubicBezTo>
                <a:cubicBezTo>
                  <a:pt x="83" y="292"/>
                  <a:pt x="99" y="309"/>
                  <a:pt x="119" y="309"/>
                </a:cubicBezTo>
                <a:cubicBezTo>
                  <a:pt x="277" y="309"/>
                  <a:pt x="277" y="309"/>
                  <a:pt x="277" y="309"/>
                </a:cubicBezTo>
                <a:cubicBezTo>
                  <a:pt x="297" y="309"/>
                  <a:pt x="314" y="292"/>
                  <a:pt x="314" y="271"/>
                </a:cubicBezTo>
                <a:cubicBezTo>
                  <a:pt x="314" y="127"/>
                  <a:pt x="314" y="127"/>
                  <a:pt x="314" y="127"/>
                </a:cubicBezTo>
                <a:cubicBezTo>
                  <a:pt x="314" y="127"/>
                  <a:pt x="314" y="127"/>
                  <a:pt x="314" y="127"/>
                </a:cubicBezTo>
                <a:cubicBezTo>
                  <a:pt x="314" y="125"/>
                  <a:pt x="314" y="125"/>
                  <a:pt x="314" y="125"/>
                </a:cubicBezTo>
                <a:cubicBezTo>
                  <a:pt x="314" y="56"/>
                  <a:pt x="367" y="0"/>
                  <a:pt x="433" y="0"/>
                </a:cubicBezTo>
                <a:cubicBezTo>
                  <a:pt x="591" y="0"/>
                  <a:pt x="591" y="0"/>
                  <a:pt x="591" y="0"/>
                </a:cubicBezTo>
                <a:cubicBezTo>
                  <a:pt x="657" y="0"/>
                  <a:pt x="710" y="56"/>
                  <a:pt x="710" y="125"/>
                </a:cubicBezTo>
                <a:cubicBezTo>
                  <a:pt x="710" y="268"/>
                  <a:pt x="710" y="268"/>
                  <a:pt x="710" y="268"/>
                </a:cubicBezTo>
                <a:cubicBezTo>
                  <a:pt x="710" y="268"/>
                  <a:pt x="710" y="268"/>
                  <a:pt x="710" y="268"/>
                </a:cubicBezTo>
                <a:cubicBezTo>
                  <a:pt x="710" y="271"/>
                  <a:pt x="710" y="271"/>
                  <a:pt x="710" y="271"/>
                </a:cubicBezTo>
                <a:cubicBezTo>
                  <a:pt x="710" y="292"/>
                  <a:pt x="726" y="309"/>
                  <a:pt x="746" y="309"/>
                </a:cubicBezTo>
                <a:cubicBezTo>
                  <a:pt x="904" y="309"/>
                  <a:pt x="904" y="309"/>
                  <a:pt x="904" y="309"/>
                </a:cubicBezTo>
                <a:cubicBezTo>
                  <a:pt x="924" y="309"/>
                  <a:pt x="941" y="292"/>
                  <a:pt x="941" y="271"/>
                </a:cubicBezTo>
                <a:cubicBezTo>
                  <a:pt x="941" y="127"/>
                  <a:pt x="941" y="127"/>
                  <a:pt x="941" y="127"/>
                </a:cubicBezTo>
                <a:cubicBezTo>
                  <a:pt x="941" y="127"/>
                  <a:pt x="941" y="127"/>
                  <a:pt x="941" y="127"/>
                </a:cubicBezTo>
                <a:cubicBezTo>
                  <a:pt x="941" y="125"/>
                  <a:pt x="941" y="125"/>
                  <a:pt x="941" y="125"/>
                </a:cubicBezTo>
                <a:cubicBezTo>
                  <a:pt x="941" y="56"/>
                  <a:pt x="994" y="0"/>
                  <a:pt x="1060" y="0"/>
                </a:cubicBezTo>
                <a:cubicBezTo>
                  <a:pt x="1218" y="0"/>
                  <a:pt x="1218" y="0"/>
                  <a:pt x="1218" y="0"/>
                </a:cubicBezTo>
                <a:cubicBezTo>
                  <a:pt x="1284" y="0"/>
                  <a:pt x="1337" y="56"/>
                  <a:pt x="1337" y="125"/>
                </a:cubicBezTo>
                <a:cubicBezTo>
                  <a:pt x="1337" y="127"/>
                  <a:pt x="1337" y="127"/>
                  <a:pt x="1337" y="127"/>
                </a:cubicBezTo>
                <a:cubicBezTo>
                  <a:pt x="1337" y="127"/>
                  <a:pt x="1337" y="127"/>
                  <a:pt x="1337" y="127"/>
                </a:cubicBezTo>
                <a:cubicBezTo>
                  <a:pt x="1337" y="271"/>
                  <a:pt x="1337" y="271"/>
                  <a:pt x="1337" y="271"/>
                </a:cubicBezTo>
                <a:cubicBezTo>
                  <a:pt x="1337" y="292"/>
                  <a:pt x="1354" y="309"/>
                  <a:pt x="1374" y="309"/>
                </a:cubicBezTo>
                <a:cubicBezTo>
                  <a:pt x="1532" y="309"/>
                  <a:pt x="1532" y="309"/>
                  <a:pt x="1532" y="309"/>
                </a:cubicBezTo>
                <a:cubicBezTo>
                  <a:pt x="1552" y="309"/>
                  <a:pt x="1568" y="292"/>
                  <a:pt x="1568" y="271"/>
                </a:cubicBezTo>
                <a:cubicBezTo>
                  <a:pt x="1568" y="127"/>
                  <a:pt x="1568" y="127"/>
                  <a:pt x="1568" y="127"/>
                </a:cubicBezTo>
                <a:cubicBezTo>
                  <a:pt x="1568" y="127"/>
                  <a:pt x="1568" y="127"/>
                  <a:pt x="1568" y="127"/>
                </a:cubicBezTo>
                <a:cubicBezTo>
                  <a:pt x="1568" y="125"/>
                  <a:pt x="1568" y="125"/>
                  <a:pt x="1568" y="125"/>
                </a:cubicBezTo>
                <a:cubicBezTo>
                  <a:pt x="1568" y="56"/>
                  <a:pt x="1622" y="0"/>
                  <a:pt x="1687" y="0"/>
                </a:cubicBezTo>
                <a:cubicBezTo>
                  <a:pt x="1846" y="0"/>
                  <a:pt x="1846" y="0"/>
                  <a:pt x="1846" y="0"/>
                </a:cubicBezTo>
                <a:cubicBezTo>
                  <a:pt x="1911" y="0"/>
                  <a:pt x="1965" y="56"/>
                  <a:pt x="1965" y="125"/>
                </a:cubicBezTo>
                <a:cubicBezTo>
                  <a:pt x="1965" y="268"/>
                  <a:pt x="1965" y="268"/>
                  <a:pt x="1965" y="268"/>
                </a:cubicBezTo>
                <a:lnTo>
                  <a:pt x="1882" y="268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504" name="Google Shape;504;p54"/>
          <p:cNvGrpSpPr/>
          <p:nvPr/>
        </p:nvGrpSpPr>
        <p:grpSpPr>
          <a:xfrm>
            <a:off x="1200917" y="3531026"/>
            <a:ext cx="2086118" cy="1517729"/>
            <a:chOff x="2512991" y="763183"/>
            <a:chExt cx="2781490" cy="2023636"/>
          </a:xfrm>
        </p:grpSpPr>
        <p:sp>
          <p:nvSpPr>
            <p:cNvPr id="505" name="Google Shape;505;p54"/>
            <p:cNvSpPr/>
            <p:nvPr/>
          </p:nvSpPr>
          <p:spPr>
            <a:xfrm>
              <a:off x="2512991" y="1863420"/>
              <a:ext cx="2722091" cy="9233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r>
                <a:rPr lang="en-US" sz="1350" dirty="0" smtClean="0">
                  <a:solidFill>
                    <a:srgbClr val="3F3F3F"/>
                  </a:solidFill>
                  <a:latin typeface="+mj-lt"/>
                  <a:ea typeface="Calibri"/>
                </a:rPr>
                <a:t>Transition to Automation</a:t>
              </a:r>
            </a:p>
            <a:p>
              <a:r>
                <a:rPr lang="en-US" sz="1350" dirty="0" smtClean="0">
                  <a:solidFill>
                    <a:srgbClr val="3F3F3F"/>
                  </a:solidFill>
                  <a:latin typeface="+mj-lt"/>
                  <a:ea typeface="Calibri"/>
                  <a:cs typeface="Calibri"/>
                  <a:sym typeface="Calibri"/>
                </a:rPr>
                <a:t>Opportunity Selection</a:t>
              </a:r>
              <a:endParaRPr sz="1350" dirty="0">
                <a:solidFill>
                  <a:srgbClr val="3F3F3F"/>
                </a:solidFill>
                <a:latin typeface="+mj-lt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6" name="Google Shape;506;p54"/>
            <p:cNvSpPr/>
            <p:nvPr/>
          </p:nvSpPr>
          <p:spPr>
            <a:xfrm>
              <a:off x="2517255" y="763183"/>
              <a:ext cx="2777226" cy="923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r>
                <a:rPr lang="en-US" sz="4050" b="1" dirty="0" smtClean="0">
                  <a:solidFill>
                    <a:srgbClr val="FF2600"/>
                  </a:solidFill>
                </a:rPr>
                <a:t>01</a:t>
              </a:r>
              <a:endParaRPr sz="1050" dirty="0"/>
            </a:p>
          </p:txBody>
        </p:sp>
      </p:grpSp>
      <p:grpSp>
        <p:nvGrpSpPr>
          <p:cNvPr id="507" name="Google Shape;507;p54"/>
          <p:cNvGrpSpPr/>
          <p:nvPr/>
        </p:nvGrpSpPr>
        <p:grpSpPr>
          <a:xfrm>
            <a:off x="3556479" y="3531026"/>
            <a:ext cx="2554841" cy="1513622"/>
            <a:chOff x="2621781" y="763183"/>
            <a:chExt cx="3406456" cy="2018160"/>
          </a:xfrm>
        </p:grpSpPr>
        <p:sp>
          <p:nvSpPr>
            <p:cNvPr id="508" name="Google Shape;508;p54"/>
            <p:cNvSpPr/>
            <p:nvPr/>
          </p:nvSpPr>
          <p:spPr>
            <a:xfrm>
              <a:off x="2621781" y="1857944"/>
              <a:ext cx="3406456" cy="9233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r>
                <a:rPr lang="en-US" sz="1350" dirty="0" smtClean="0">
                  <a:solidFill>
                    <a:srgbClr val="3F3F3F"/>
                  </a:solidFill>
                  <a:latin typeface="+mj-lt"/>
                </a:rPr>
                <a:t>Demand Management (Dev)</a:t>
              </a:r>
            </a:p>
            <a:p>
              <a:r>
                <a:rPr lang="en-US" sz="1350" dirty="0" smtClean="0">
                  <a:solidFill>
                    <a:srgbClr val="3F3F3F"/>
                  </a:solidFill>
                  <a:latin typeface="+mj-lt"/>
                  <a:ea typeface="Calibri"/>
                  <a:cs typeface="Calibri"/>
                  <a:sym typeface="Calibri"/>
                </a:rPr>
                <a:t>Pre-requisite for Dev</a:t>
              </a:r>
            </a:p>
            <a:p>
              <a:r>
                <a:rPr lang="en-US" sz="1350" dirty="0" smtClean="0">
                  <a:solidFill>
                    <a:srgbClr val="3F3F3F"/>
                  </a:solidFill>
                  <a:latin typeface="+mj-lt"/>
                  <a:ea typeface="Calibri"/>
                  <a:cs typeface="Calibri"/>
                  <a:sym typeface="Calibri"/>
                </a:rPr>
                <a:t>Agile Lifecycle</a:t>
              </a:r>
              <a:endParaRPr sz="1350" dirty="0">
                <a:solidFill>
                  <a:srgbClr val="3F3F3F"/>
                </a:solidFill>
                <a:latin typeface="+mj-lt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9" name="Google Shape;509;p54"/>
            <p:cNvSpPr/>
            <p:nvPr/>
          </p:nvSpPr>
          <p:spPr>
            <a:xfrm>
              <a:off x="2628551" y="763183"/>
              <a:ext cx="3074459" cy="923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r>
                <a:rPr lang="en-US" sz="4050" b="1" dirty="0" smtClean="0">
                  <a:solidFill>
                    <a:srgbClr val="809C00"/>
                  </a:solidFill>
                </a:rPr>
                <a:t>03</a:t>
              </a:r>
              <a:endParaRPr sz="1050" dirty="0"/>
            </a:p>
          </p:txBody>
        </p:sp>
      </p:grpSp>
      <p:grpSp>
        <p:nvGrpSpPr>
          <p:cNvPr id="510" name="Google Shape;510;p54"/>
          <p:cNvGrpSpPr/>
          <p:nvPr/>
        </p:nvGrpSpPr>
        <p:grpSpPr>
          <a:xfrm>
            <a:off x="6101917" y="3531026"/>
            <a:ext cx="1595700" cy="1513566"/>
            <a:chOff x="2983743" y="763183"/>
            <a:chExt cx="2127600" cy="2018088"/>
          </a:xfrm>
        </p:grpSpPr>
        <p:sp>
          <p:nvSpPr>
            <p:cNvPr id="511" name="Google Shape;511;p54"/>
            <p:cNvSpPr/>
            <p:nvPr/>
          </p:nvSpPr>
          <p:spPr>
            <a:xfrm>
              <a:off x="2983743" y="1857871"/>
              <a:ext cx="2127600" cy="923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r>
                <a:rPr lang="en-US" sz="1350" dirty="0" smtClean="0">
                  <a:solidFill>
                    <a:srgbClr val="3F3F3F"/>
                  </a:solidFill>
                  <a:latin typeface="+mj-lt"/>
                  <a:ea typeface="Calibri"/>
                  <a:cs typeface="Calibri"/>
                  <a:sym typeface="Calibri"/>
                </a:rPr>
                <a:t>Operations</a:t>
              </a:r>
            </a:p>
            <a:p>
              <a:r>
                <a:rPr lang="en-US" sz="1350" dirty="0" smtClean="0">
                  <a:solidFill>
                    <a:srgbClr val="3F3F3F"/>
                  </a:solidFill>
                  <a:latin typeface="+mj-lt"/>
                  <a:ea typeface="Calibri"/>
                  <a:cs typeface="Calibri"/>
                  <a:sym typeface="Calibri"/>
                </a:rPr>
                <a:t>Support</a:t>
              </a:r>
              <a:endParaRPr sz="1350" dirty="0">
                <a:solidFill>
                  <a:srgbClr val="3F3F3F"/>
                </a:solidFill>
                <a:latin typeface="+mj-lt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2" name="Google Shape;512;p54"/>
            <p:cNvSpPr/>
            <p:nvPr/>
          </p:nvSpPr>
          <p:spPr>
            <a:xfrm>
              <a:off x="2983743" y="763183"/>
              <a:ext cx="1841100" cy="923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r>
                <a:rPr lang="en-US" sz="4050" b="1" dirty="0" smtClean="0">
                  <a:solidFill>
                    <a:srgbClr val="4C51B8"/>
                  </a:solidFill>
                </a:rPr>
                <a:t>05</a:t>
              </a:r>
              <a:endParaRPr sz="1050" dirty="0"/>
            </a:p>
          </p:txBody>
        </p:sp>
      </p:grpSp>
      <p:grpSp>
        <p:nvGrpSpPr>
          <p:cNvPr id="513" name="Google Shape;513;p54"/>
          <p:cNvGrpSpPr/>
          <p:nvPr/>
        </p:nvGrpSpPr>
        <p:grpSpPr>
          <a:xfrm>
            <a:off x="2799872" y="368031"/>
            <a:ext cx="2210810" cy="1483133"/>
            <a:chOff x="3097965" y="345603"/>
            <a:chExt cx="2947747" cy="1977508"/>
          </a:xfrm>
        </p:grpSpPr>
        <p:sp>
          <p:nvSpPr>
            <p:cNvPr id="514" name="Google Shape;514;p54"/>
            <p:cNvSpPr/>
            <p:nvPr/>
          </p:nvSpPr>
          <p:spPr>
            <a:xfrm>
              <a:off x="3097977" y="1399712"/>
              <a:ext cx="2570003" cy="9233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r>
                <a:rPr lang="en-US" sz="1350" dirty="0" smtClean="0">
                  <a:solidFill>
                    <a:srgbClr val="3F3F3F"/>
                  </a:solidFill>
                  <a:ea typeface="Calibri"/>
                </a:rPr>
                <a:t>Demand Management Process Definition</a:t>
              </a:r>
              <a:endParaRPr sz="1350" dirty="0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5" name="Google Shape;515;p54"/>
            <p:cNvSpPr/>
            <p:nvPr/>
          </p:nvSpPr>
          <p:spPr>
            <a:xfrm>
              <a:off x="3097965" y="345603"/>
              <a:ext cx="2947747" cy="923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r>
                <a:rPr lang="en-US" sz="4050" b="1" dirty="0" smtClean="0">
                  <a:solidFill>
                    <a:srgbClr val="FFC801"/>
                  </a:solidFill>
                </a:rPr>
                <a:t>02</a:t>
              </a:r>
              <a:endParaRPr sz="1050" dirty="0"/>
            </a:p>
          </p:txBody>
        </p:sp>
      </p:grpSp>
      <p:grpSp>
        <p:nvGrpSpPr>
          <p:cNvPr id="516" name="Google Shape;516;p54"/>
          <p:cNvGrpSpPr/>
          <p:nvPr/>
        </p:nvGrpSpPr>
        <p:grpSpPr>
          <a:xfrm>
            <a:off x="5010683" y="368031"/>
            <a:ext cx="1595700" cy="1483133"/>
            <a:chOff x="6045711" y="345603"/>
            <a:chExt cx="2127599" cy="1977509"/>
          </a:xfrm>
        </p:grpSpPr>
        <p:sp>
          <p:nvSpPr>
            <p:cNvPr id="517" name="Google Shape;517;p54"/>
            <p:cNvSpPr/>
            <p:nvPr/>
          </p:nvSpPr>
          <p:spPr>
            <a:xfrm>
              <a:off x="6045711" y="1399713"/>
              <a:ext cx="2127599" cy="9233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r>
                <a:rPr lang="en-US" sz="1350" dirty="0" smtClean="0">
                  <a:solidFill>
                    <a:srgbClr val="3F3F3F"/>
                  </a:solidFill>
                </a:rPr>
                <a:t>Delivery</a:t>
              </a:r>
            </a:p>
            <a:p>
              <a:r>
                <a:rPr lang="en-US" sz="1350" dirty="0" smtClean="0">
                  <a:solidFill>
                    <a:srgbClr val="3F3F3F"/>
                  </a:solidFill>
                </a:rPr>
                <a:t>Deployment </a:t>
              </a:r>
              <a:endParaRPr sz="1350" dirty="0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8" name="Google Shape;518;p54"/>
            <p:cNvSpPr/>
            <p:nvPr/>
          </p:nvSpPr>
          <p:spPr>
            <a:xfrm>
              <a:off x="6045728" y="345603"/>
              <a:ext cx="1671600" cy="923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r>
                <a:rPr lang="en-US" sz="4050" b="1" dirty="0" smtClean="0">
                  <a:solidFill>
                    <a:srgbClr val="00B69F"/>
                  </a:solidFill>
                </a:rPr>
                <a:t>04</a:t>
              </a:r>
              <a:endParaRPr sz="1050" dirty="0"/>
            </a:p>
          </p:txBody>
        </p:sp>
      </p:grpSp>
      <p:sp>
        <p:nvSpPr>
          <p:cNvPr id="521" name="Google Shape;521;p54"/>
          <p:cNvSpPr/>
          <p:nvPr/>
        </p:nvSpPr>
        <p:spPr>
          <a:xfrm>
            <a:off x="7347821" y="368031"/>
            <a:ext cx="1143000" cy="6925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US" sz="4050" b="1" dirty="0" smtClean="0">
                <a:solidFill>
                  <a:srgbClr val="00C9F3"/>
                </a:solidFill>
              </a:rPr>
              <a:t>06</a:t>
            </a:r>
            <a:endParaRPr sz="1050" dirty="0"/>
          </a:p>
        </p:txBody>
      </p:sp>
      <p:sp>
        <p:nvSpPr>
          <p:cNvPr id="24" name="Google Shape;59;p14"/>
          <p:cNvSpPr txBox="1">
            <a:spLocks/>
          </p:cNvSpPr>
          <p:nvPr/>
        </p:nvSpPr>
        <p:spPr>
          <a:xfrm>
            <a:off x="115762" y="107010"/>
            <a:ext cx="2938997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800" b="1" dirty="0" smtClean="0"/>
              <a:t>GOVERNANCE</a:t>
            </a:r>
          </a:p>
          <a:p>
            <a:r>
              <a:rPr lang="en-US" sz="2800" b="1" dirty="0" smtClean="0"/>
              <a:t>MODEL</a:t>
            </a:r>
            <a:endParaRPr lang="en-US" sz="2800" b="1" dirty="0"/>
          </a:p>
        </p:txBody>
      </p:sp>
      <p:sp>
        <p:nvSpPr>
          <p:cNvPr id="2" name="TextBox 1"/>
          <p:cNvSpPr txBox="1"/>
          <p:nvPr/>
        </p:nvSpPr>
        <p:spPr>
          <a:xfrm>
            <a:off x="2799861" y="925688"/>
            <a:ext cx="12442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C801"/>
                </a:solidFill>
              </a:rPr>
              <a:t>DISCOVERY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200917" y="4069687"/>
            <a:ext cx="104227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F2600"/>
                </a:solidFill>
              </a:rPr>
              <a:t>IDEATION</a:t>
            </a:r>
            <a:endParaRPr lang="en-US" sz="900" dirty="0"/>
          </a:p>
        </p:txBody>
      </p:sp>
      <p:sp>
        <p:nvSpPr>
          <p:cNvPr id="5" name="TextBox 4"/>
          <p:cNvSpPr txBox="1"/>
          <p:nvPr/>
        </p:nvSpPr>
        <p:spPr>
          <a:xfrm>
            <a:off x="3556479" y="4060930"/>
            <a:ext cx="14302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809C00"/>
                </a:solidFill>
              </a:rPr>
              <a:t>SOLUTIONING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5012649" y="897934"/>
            <a:ext cx="17988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B69F"/>
                </a:solidFill>
              </a:rPr>
              <a:t>IMPLEMENTATION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6101457" y="4062674"/>
            <a:ext cx="13724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4C51B8"/>
                </a:solidFill>
              </a:rPr>
              <a:t>OPERATIONS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7352824" y="877873"/>
            <a:ext cx="139012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00C9F3"/>
                </a:solidFill>
              </a:rPr>
              <a:t>BENEFITS</a:t>
            </a:r>
          </a:p>
          <a:p>
            <a:r>
              <a:rPr lang="en-US" b="1" dirty="0" smtClean="0">
                <a:solidFill>
                  <a:srgbClr val="00C9F3"/>
                </a:solidFill>
              </a:rPr>
              <a:t>REALIZ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7618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142073"/>
              </p:ext>
            </p:extLst>
          </p:nvPr>
        </p:nvGraphicFramePr>
        <p:xfrm>
          <a:off x="1700732" y="887384"/>
          <a:ext cx="5529944" cy="414336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764972"/>
                <a:gridCol w="2764972"/>
              </a:tblGrid>
              <a:tr h="258960">
                <a:tc>
                  <a:txBody>
                    <a:bodyPr/>
                    <a:lstStyle/>
                    <a:p>
                      <a:r>
                        <a:rPr lang="en-PH" dirty="0" smtClean="0"/>
                        <a:t>Enter Details Here</a:t>
                      </a:r>
                      <a:endParaRPr lang="en-P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Process Name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Calculate</a:t>
                      </a:r>
                      <a:r>
                        <a:rPr lang="en-PH" baseline="0" dirty="0" smtClean="0">
                          <a:solidFill>
                            <a:schemeClr val="tx1"/>
                          </a:solidFill>
                        </a:rPr>
                        <a:t> Client Security Hash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Standard Input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No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Free Text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100%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Is there more than 1 application involved?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Number of Screen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Citrix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smtClean="0">
                          <a:solidFill>
                            <a:schemeClr val="tx1"/>
                          </a:solidFill>
                        </a:rPr>
                        <a:t>OCR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Complexity %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Complexity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Effort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" name="Google Shape;66;p15"/>
          <p:cNvSpPr txBox="1">
            <a:spLocks/>
          </p:cNvSpPr>
          <p:nvPr/>
        </p:nvSpPr>
        <p:spPr>
          <a:xfrm>
            <a:off x="311700" y="42903"/>
            <a:ext cx="8520600" cy="52968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14300" indent="0">
              <a:buNone/>
            </a:pPr>
            <a:r>
              <a:rPr lang="en-PH" sz="2000" b="1" dirty="0" smtClean="0">
                <a:solidFill>
                  <a:schemeClr val="bg1"/>
                </a:solidFill>
              </a:rPr>
              <a:t>What % of the data input is free text?</a:t>
            </a:r>
            <a:endParaRPr lang="en-PH" sz="2000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465704" y="1375441"/>
            <a:ext cx="2764972" cy="29967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  <p:sp>
        <p:nvSpPr>
          <p:cNvPr id="7" name="Rectangle 6"/>
          <p:cNvSpPr/>
          <p:nvPr/>
        </p:nvSpPr>
        <p:spPr>
          <a:xfrm>
            <a:off x="1700732" y="2189950"/>
            <a:ext cx="5529944" cy="1283233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  <p:sp>
        <p:nvSpPr>
          <p:cNvPr id="2" name="TextBox 1"/>
          <p:cNvSpPr txBox="1"/>
          <p:nvPr/>
        </p:nvSpPr>
        <p:spPr>
          <a:xfrm>
            <a:off x="7422776" y="1290917"/>
            <a:ext cx="1506071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PH" dirty="0" smtClean="0">
                <a:solidFill>
                  <a:schemeClr val="bg1"/>
                </a:solidFill>
              </a:rPr>
              <a:t>If there’s any free text available in the process, this becomes “No”</a:t>
            </a:r>
            <a:endParaRPr lang="en-PH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0663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6;p15"/>
          <p:cNvSpPr txBox="1">
            <a:spLocks/>
          </p:cNvSpPr>
          <p:nvPr/>
        </p:nvSpPr>
        <p:spPr>
          <a:xfrm>
            <a:off x="311700" y="42903"/>
            <a:ext cx="8520600" cy="52968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14300" indent="0">
              <a:buNone/>
            </a:pPr>
            <a:r>
              <a:rPr lang="en-PH" sz="2000" b="1" dirty="0" smtClean="0">
                <a:solidFill>
                  <a:schemeClr val="bg1"/>
                </a:solidFill>
              </a:rPr>
              <a:t>Are there more than 1 application involved in the process?</a:t>
            </a:r>
            <a:endParaRPr lang="en-PH" sz="2000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6565334"/>
              </p:ext>
            </p:extLst>
          </p:nvPr>
        </p:nvGraphicFramePr>
        <p:xfrm>
          <a:off x="1700732" y="887384"/>
          <a:ext cx="5529944" cy="414336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764972"/>
                <a:gridCol w="2764972"/>
              </a:tblGrid>
              <a:tr h="258960">
                <a:tc>
                  <a:txBody>
                    <a:bodyPr/>
                    <a:lstStyle/>
                    <a:p>
                      <a:r>
                        <a:rPr lang="en-PH" dirty="0" smtClean="0"/>
                        <a:t>Enter Details Here</a:t>
                      </a:r>
                      <a:endParaRPr lang="en-P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Process Name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Calculate</a:t>
                      </a:r>
                      <a:r>
                        <a:rPr lang="en-PH" baseline="0" dirty="0" smtClean="0">
                          <a:solidFill>
                            <a:schemeClr val="tx1"/>
                          </a:solidFill>
                        </a:rPr>
                        <a:t> Client Security Hash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Standard Input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No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Free Text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100%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Is there more than 1 application involved?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Number of Screen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Citrix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smtClean="0">
                          <a:solidFill>
                            <a:schemeClr val="tx1"/>
                          </a:solidFill>
                        </a:rPr>
                        <a:t>OCR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Complexity %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Complexity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Effort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0" name="Rectangle 9"/>
          <p:cNvSpPr/>
          <p:nvPr/>
        </p:nvSpPr>
        <p:spPr>
          <a:xfrm>
            <a:off x="1700732" y="2189950"/>
            <a:ext cx="5529944" cy="1283233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  <p:sp>
        <p:nvSpPr>
          <p:cNvPr id="9" name="Rectangle 8"/>
          <p:cNvSpPr/>
          <p:nvPr/>
        </p:nvSpPr>
        <p:spPr>
          <a:xfrm>
            <a:off x="4465704" y="1897953"/>
            <a:ext cx="2764972" cy="29967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1206414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7049997"/>
              </p:ext>
            </p:extLst>
          </p:nvPr>
        </p:nvGraphicFramePr>
        <p:xfrm>
          <a:off x="1700732" y="887384"/>
          <a:ext cx="5529944" cy="414336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764972"/>
                <a:gridCol w="2764972"/>
              </a:tblGrid>
              <a:tr h="258960">
                <a:tc>
                  <a:txBody>
                    <a:bodyPr/>
                    <a:lstStyle/>
                    <a:p>
                      <a:r>
                        <a:rPr lang="en-PH" dirty="0" smtClean="0"/>
                        <a:t>Enter Details Here</a:t>
                      </a:r>
                      <a:endParaRPr lang="en-P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Process Name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Calculate</a:t>
                      </a:r>
                      <a:r>
                        <a:rPr lang="en-PH" baseline="0" dirty="0" smtClean="0">
                          <a:solidFill>
                            <a:schemeClr val="tx1"/>
                          </a:solidFill>
                        </a:rPr>
                        <a:t> Client Security Hash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Standard Input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No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Free Text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100%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Are there more than 1 application involved?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Yes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System</a:t>
                      </a:r>
                      <a:r>
                        <a:rPr lang="en-PH" baseline="0" dirty="0" smtClean="0">
                          <a:solidFill>
                            <a:schemeClr val="tx1"/>
                          </a:solidFill>
                        </a:rPr>
                        <a:t> Application (Microsoft)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System Application (Non-Microsoft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Web Application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SAP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Mainframe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Number of Screen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Citrix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smtClean="0">
                          <a:solidFill>
                            <a:schemeClr val="tx1"/>
                          </a:solidFill>
                        </a:rPr>
                        <a:t>OCR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Complexity %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Complexity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Effort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" name="Google Shape;66;p15"/>
          <p:cNvSpPr txBox="1">
            <a:spLocks/>
          </p:cNvSpPr>
          <p:nvPr/>
        </p:nvSpPr>
        <p:spPr>
          <a:xfrm>
            <a:off x="311700" y="42903"/>
            <a:ext cx="8520600" cy="52968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14300" indent="0">
              <a:buNone/>
            </a:pPr>
            <a:r>
              <a:rPr lang="en-PH" sz="2000" b="1" dirty="0" smtClean="0">
                <a:solidFill>
                  <a:schemeClr val="bg1"/>
                </a:solidFill>
              </a:rPr>
              <a:t>What are type of applications are involved in the process?</a:t>
            </a:r>
            <a:endParaRPr lang="en-PH" sz="2000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700732" y="2166892"/>
            <a:ext cx="5529944" cy="1337027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  <p:sp>
        <p:nvSpPr>
          <p:cNvPr id="8" name="TextBox 7"/>
          <p:cNvSpPr txBox="1"/>
          <p:nvPr/>
        </p:nvSpPr>
        <p:spPr>
          <a:xfrm>
            <a:off x="7422776" y="1290917"/>
            <a:ext cx="1506071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PH" dirty="0" smtClean="0">
                <a:solidFill>
                  <a:schemeClr val="bg1"/>
                </a:solidFill>
              </a:rPr>
              <a:t>By answering “Yes”, you’ll be asked to input the number of applications involved per type</a:t>
            </a:r>
            <a:endParaRPr lang="en-PH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9547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959593"/>
              </p:ext>
            </p:extLst>
          </p:nvPr>
        </p:nvGraphicFramePr>
        <p:xfrm>
          <a:off x="1700732" y="887384"/>
          <a:ext cx="5529944" cy="414336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764972"/>
                <a:gridCol w="2764972"/>
              </a:tblGrid>
              <a:tr h="258960">
                <a:tc>
                  <a:txBody>
                    <a:bodyPr/>
                    <a:lstStyle/>
                    <a:p>
                      <a:r>
                        <a:rPr lang="en-PH" dirty="0" smtClean="0"/>
                        <a:t>Enter Details Here</a:t>
                      </a:r>
                      <a:endParaRPr lang="en-P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Process Name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Calculate</a:t>
                      </a:r>
                      <a:r>
                        <a:rPr lang="en-PH" baseline="0" dirty="0" smtClean="0">
                          <a:solidFill>
                            <a:schemeClr val="tx1"/>
                          </a:solidFill>
                        </a:rPr>
                        <a:t> Client Security Hash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Standard Input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No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Free Text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100%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Are there more than 1 application involved?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Yes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System</a:t>
                      </a:r>
                      <a:r>
                        <a:rPr lang="en-PH" baseline="0" dirty="0" smtClean="0">
                          <a:solidFill>
                            <a:schemeClr val="tx1"/>
                          </a:solidFill>
                        </a:rPr>
                        <a:t> Application (Microsoft)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System Application (Non-Microsoft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Web Application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SAP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Mainframe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Number of Screen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Citrix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smtClean="0">
                          <a:solidFill>
                            <a:schemeClr val="tx1"/>
                          </a:solidFill>
                        </a:rPr>
                        <a:t>OCR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Complexity %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Complexity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Effort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" name="Google Shape;66;p15"/>
          <p:cNvSpPr txBox="1">
            <a:spLocks/>
          </p:cNvSpPr>
          <p:nvPr/>
        </p:nvSpPr>
        <p:spPr>
          <a:xfrm>
            <a:off x="311700" y="42903"/>
            <a:ext cx="8520600" cy="52968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14300" indent="0">
              <a:buNone/>
            </a:pPr>
            <a:r>
              <a:rPr lang="en-PH" sz="2000" b="1" dirty="0" smtClean="0">
                <a:solidFill>
                  <a:schemeClr val="bg1"/>
                </a:solidFill>
              </a:rPr>
              <a:t>What are type of applications are involved in the process?</a:t>
            </a:r>
            <a:endParaRPr lang="en-PH" sz="2000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700732" y="2166892"/>
            <a:ext cx="5529944" cy="1337027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3234306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4114562"/>
              </p:ext>
            </p:extLst>
          </p:nvPr>
        </p:nvGraphicFramePr>
        <p:xfrm>
          <a:off x="1700732" y="887384"/>
          <a:ext cx="5529944" cy="414336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764972"/>
                <a:gridCol w="2764972"/>
              </a:tblGrid>
              <a:tr h="258960">
                <a:tc>
                  <a:txBody>
                    <a:bodyPr/>
                    <a:lstStyle/>
                    <a:p>
                      <a:r>
                        <a:rPr lang="en-PH" dirty="0" smtClean="0"/>
                        <a:t>Enter Details Here</a:t>
                      </a:r>
                      <a:endParaRPr lang="en-P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Process Name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Calculate</a:t>
                      </a:r>
                      <a:r>
                        <a:rPr lang="en-PH" baseline="0" dirty="0" smtClean="0">
                          <a:solidFill>
                            <a:schemeClr val="tx1"/>
                          </a:solidFill>
                        </a:rPr>
                        <a:t> Client Security Hash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Standard Input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No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Free Text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100%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Are there more than 1 application involved?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Yes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System</a:t>
                      </a:r>
                      <a:r>
                        <a:rPr lang="en-PH" baseline="0" dirty="0" smtClean="0">
                          <a:solidFill>
                            <a:schemeClr val="tx1"/>
                          </a:solidFill>
                        </a:rPr>
                        <a:t> Application (Microsoft)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System Application (Non-Microsoft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Web Application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SAP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Mainframe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Number of Screen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Citrix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smtClean="0">
                          <a:solidFill>
                            <a:schemeClr val="tx1"/>
                          </a:solidFill>
                        </a:rPr>
                        <a:t>OCR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Complexity %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Complexity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Effort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" name="Google Shape;66;p15"/>
          <p:cNvSpPr txBox="1">
            <a:spLocks/>
          </p:cNvSpPr>
          <p:nvPr/>
        </p:nvSpPr>
        <p:spPr>
          <a:xfrm>
            <a:off x="311700" y="42903"/>
            <a:ext cx="8520600" cy="52968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14300" indent="0">
              <a:buNone/>
            </a:pPr>
            <a:r>
              <a:rPr lang="en-PH" sz="2000" b="1" dirty="0" smtClean="0">
                <a:solidFill>
                  <a:schemeClr val="bg1"/>
                </a:solidFill>
              </a:rPr>
              <a:t>How many number of screens does the process have?</a:t>
            </a:r>
            <a:endParaRPr lang="en-PH" sz="2000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700732" y="3442446"/>
            <a:ext cx="5529944" cy="32272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2025025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116312"/>
              </p:ext>
            </p:extLst>
          </p:nvPr>
        </p:nvGraphicFramePr>
        <p:xfrm>
          <a:off x="1700732" y="887384"/>
          <a:ext cx="5529944" cy="414336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764972"/>
                <a:gridCol w="2764972"/>
              </a:tblGrid>
              <a:tr h="258960">
                <a:tc>
                  <a:txBody>
                    <a:bodyPr/>
                    <a:lstStyle/>
                    <a:p>
                      <a:r>
                        <a:rPr lang="en-PH" dirty="0" smtClean="0"/>
                        <a:t>Enter Details Here</a:t>
                      </a:r>
                      <a:endParaRPr lang="en-P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Process Name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Calculate</a:t>
                      </a:r>
                      <a:r>
                        <a:rPr lang="en-PH" baseline="0" dirty="0" smtClean="0">
                          <a:solidFill>
                            <a:schemeClr val="tx1"/>
                          </a:solidFill>
                        </a:rPr>
                        <a:t> Client Security Hash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Standard Input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No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Free Text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100%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Are there more than 1 application involved?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Yes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System</a:t>
                      </a:r>
                      <a:r>
                        <a:rPr lang="en-PH" baseline="0" dirty="0" smtClean="0">
                          <a:solidFill>
                            <a:schemeClr val="tx1"/>
                          </a:solidFill>
                        </a:rPr>
                        <a:t> Application (Microsoft)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System Application (Non-Microsoft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Web Application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SAP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Mainframe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Number of Screen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r>
                        <a:rPr lang="en-PH" baseline="0" dirty="0" smtClean="0">
                          <a:solidFill>
                            <a:schemeClr val="tx1"/>
                          </a:solidFill>
                        </a:rPr>
                        <a:t> – 10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Citrix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smtClean="0">
                          <a:solidFill>
                            <a:schemeClr val="tx1"/>
                          </a:solidFill>
                        </a:rPr>
                        <a:t>OCR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Complexity %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Complexity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Effort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" name="Google Shape;66;p15"/>
          <p:cNvSpPr txBox="1">
            <a:spLocks/>
          </p:cNvSpPr>
          <p:nvPr/>
        </p:nvSpPr>
        <p:spPr>
          <a:xfrm>
            <a:off x="311700" y="42903"/>
            <a:ext cx="8520600" cy="52968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14300" indent="0">
              <a:buNone/>
            </a:pPr>
            <a:r>
              <a:rPr lang="en-PH" sz="2000" b="1" dirty="0" smtClean="0">
                <a:solidFill>
                  <a:schemeClr val="bg1"/>
                </a:solidFill>
              </a:rPr>
              <a:t>How many number of screens does the process have?</a:t>
            </a:r>
            <a:endParaRPr lang="en-PH" sz="2000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700732" y="3442446"/>
            <a:ext cx="5529944" cy="32272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974018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9368728"/>
              </p:ext>
            </p:extLst>
          </p:nvPr>
        </p:nvGraphicFramePr>
        <p:xfrm>
          <a:off x="1700732" y="887384"/>
          <a:ext cx="5529944" cy="414336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764972"/>
                <a:gridCol w="2764972"/>
              </a:tblGrid>
              <a:tr h="258960">
                <a:tc>
                  <a:txBody>
                    <a:bodyPr/>
                    <a:lstStyle/>
                    <a:p>
                      <a:r>
                        <a:rPr lang="en-PH" dirty="0" smtClean="0"/>
                        <a:t>Enter Details Here</a:t>
                      </a:r>
                      <a:endParaRPr lang="en-P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Process Name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Calculate</a:t>
                      </a:r>
                      <a:r>
                        <a:rPr lang="en-PH" baseline="0" dirty="0" smtClean="0">
                          <a:solidFill>
                            <a:schemeClr val="tx1"/>
                          </a:solidFill>
                        </a:rPr>
                        <a:t> Client Security Hash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Standard Input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No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Free Text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100%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Are there more than 1 application involved?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Yes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System</a:t>
                      </a:r>
                      <a:r>
                        <a:rPr lang="en-PH" baseline="0" dirty="0" smtClean="0">
                          <a:solidFill>
                            <a:schemeClr val="tx1"/>
                          </a:solidFill>
                        </a:rPr>
                        <a:t> Application (Microsoft)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System Application (Non-Microsoft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Web Application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SAP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Mainframe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Number of Screen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r>
                        <a:rPr lang="en-PH" baseline="0" dirty="0" smtClean="0">
                          <a:solidFill>
                            <a:schemeClr val="tx1"/>
                          </a:solidFill>
                        </a:rPr>
                        <a:t> – 10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Citrix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smtClean="0">
                          <a:solidFill>
                            <a:schemeClr val="tx1"/>
                          </a:solidFill>
                        </a:rPr>
                        <a:t>OCR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Complexity %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Complexity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Effort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" name="Google Shape;66;p15"/>
          <p:cNvSpPr txBox="1">
            <a:spLocks/>
          </p:cNvSpPr>
          <p:nvPr/>
        </p:nvSpPr>
        <p:spPr>
          <a:xfrm>
            <a:off x="311700" y="42903"/>
            <a:ext cx="8520600" cy="52968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14300" indent="0">
              <a:buNone/>
            </a:pPr>
            <a:r>
              <a:rPr lang="en-PH" sz="2000" b="1" dirty="0" smtClean="0">
                <a:solidFill>
                  <a:schemeClr val="bg1"/>
                </a:solidFill>
              </a:rPr>
              <a:t>Does this process need Citrix (remote access)?</a:t>
            </a:r>
            <a:endParaRPr lang="en-PH" sz="2000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700732" y="3696018"/>
            <a:ext cx="5529944" cy="32272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2896208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0202803"/>
              </p:ext>
            </p:extLst>
          </p:nvPr>
        </p:nvGraphicFramePr>
        <p:xfrm>
          <a:off x="1700732" y="887384"/>
          <a:ext cx="5529944" cy="414336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764972"/>
                <a:gridCol w="2764972"/>
              </a:tblGrid>
              <a:tr h="258960">
                <a:tc>
                  <a:txBody>
                    <a:bodyPr/>
                    <a:lstStyle/>
                    <a:p>
                      <a:r>
                        <a:rPr lang="en-PH" dirty="0" smtClean="0"/>
                        <a:t>Enter Details Here</a:t>
                      </a:r>
                      <a:endParaRPr lang="en-P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Process Name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Calculate</a:t>
                      </a:r>
                      <a:r>
                        <a:rPr lang="en-PH" baseline="0" dirty="0" smtClean="0">
                          <a:solidFill>
                            <a:schemeClr val="tx1"/>
                          </a:solidFill>
                        </a:rPr>
                        <a:t> Client Security Hash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Standard Input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No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Free Text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100%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Are there more than 1 application involved?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Yes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System</a:t>
                      </a:r>
                      <a:r>
                        <a:rPr lang="en-PH" baseline="0" dirty="0" smtClean="0">
                          <a:solidFill>
                            <a:schemeClr val="tx1"/>
                          </a:solidFill>
                        </a:rPr>
                        <a:t> Application (Microsoft)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System Application (Non-Microsoft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Web Application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SAP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Mainframe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Number of Screen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r>
                        <a:rPr lang="en-PH" baseline="0" dirty="0" smtClean="0">
                          <a:solidFill>
                            <a:schemeClr val="tx1"/>
                          </a:solidFill>
                        </a:rPr>
                        <a:t> – 10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Citrix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No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smtClean="0">
                          <a:solidFill>
                            <a:schemeClr val="tx1"/>
                          </a:solidFill>
                        </a:rPr>
                        <a:t>OCR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Complexity %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Complexity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Effort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" name="Google Shape;66;p15"/>
          <p:cNvSpPr txBox="1">
            <a:spLocks/>
          </p:cNvSpPr>
          <p:nvPr/>
        </p:nvSpPr>
        <p:spPr>
          <a:xfrm>
            <a:off x="311700" y="42903"/>
            <a:ext cx="8520600" cy="52968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14300" indent="0">
              <a:buNone/>
            </a:pPr>
            <a:r>
              <a:rPr lang="en-PH" sz="2000" b="1" dirty="0" smtClean="0">
                <a:solidFill>
                  <a:schemeClr val="bg1"/>
                </a:solidFill>
              </a:rPr>
              <a:t>Does this process need Citrix (remote access)?</a:t>
            </a:r>
            <a:endParaRPr lang="en-PH" sz="2000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700732" y="3696018"/>
            <a:ext cx="5529944" cy="32272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644632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0202803"/>
              </p:ext>
            </p:extLst>
          </p:nvPr>
        </p:nvGraphicFramePr>
        <p:xfrm>
          <a:off x="1700732" y="887384"/>
          <a:ext cx="5529944" cy="414336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764972"/>
                <a:gridCol w="2764972"/>
              </a:tblGrid>
              <a:tr h="258960">
                <a:tc>
                  <a:txBody>
                    <a:bodyPr/>
                    <a:lstStyle/>
                    <a:p>
                      <a:r>
                        <a:rPr lang="en-PH" dirty="0" smtClean="0"/>
                        <a:t>Enter Details Here</a:t>
                      </a:r>
                      <a:endParaRPr lang="en-P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Process Name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Calculate</a:t>
                      </a:r>
                      <a:r>
                        <a:rPr lang="en-PH" baseline="0" dirty="0" smtClean="0">
                          <a:solidFill>
                            <a:schemeClr val="tx1"/>
                          </a:solidFill>
                        </a:rPr>
                        <a:t> Client Security Hash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Standard Input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No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Free Text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100%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Are there more than 1 application involved?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Yes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System</a:t>
                      </a:r>
                      <a:r>
                        <a:rPr lang="en-PH" baseline="0" dirty="0" smtClean="0">
                          <a:solidFill>
                            <a:schemeClr val="tx1"/>
                          </a:solidFill>
                        </a:rPr>
                        <a:t> Application (Microsoft)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System Application (Non-Microsoft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Web Application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SAP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Mainframe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Number of Screen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r>
                        <a:rPr lang="en-PH" baseline="0" dirty="0" smtClean="0">
                          <a:solidFill>
                            <a:schemeClr val="tx1"/>
                          </a:solidFill>
                        </a:rPr>
                        <a:t> – 10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Citrix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No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smtClean="0">
                          <a:solidFill>
                            <a:schemeClr val="tx1"/>
                          </a:solidFill>
                        </a:rPr>
                        <a:t>OCR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Complexity %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Complexity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Effort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" name="Google Shape;66;p15"/>
          <p:cNvSpPr txBox="1">
            <a:spLocks/>
          </p:cNvSpPr>
          <p:nvPr/>
        </p:nvSpPr>
        <p:spPr>
          <a:xfrm>
            <a:off x="311700" y="42903"/>
            <a:ext cx="8520600" cy="52968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14300" indent="0">
              <a:buNone/>
            </a:pPr>
            <a:r>
              <a:rPr lang="en-PH" sz="2000" b="1" dirty="0" smtClean="0">
                <a:solidFill>
                  <a:schemeClr val="bg1"/>
                </a:solidFill>
              </a:rPr>
              <a:t>Does this process </a:t>
            </a:r>
            <a:r>
              <a:rPr lang="en-PH" sz="2000" b="1" smtClean="0">
                <a:solidFill>
                  <a:schemeClr val="bg1"/>
                </a:solidFill>
              </a:rPr>
              <a:t>need OCR (image recognition software)?</a:t>
            </a:r>
            <a:endParaRPr lang="en-PH" sz="2000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700732" y="3972642"/>
            <a:ext cx="5529944" cy="32272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885005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3255012"/>
              </p:ext>
            </p:extLst>
          </p:nvPr>
        </p:nvGraphicFramePr>
        <p:xfrm>
          <a:off x="1700732" y="887384"/>
          <a:ext cx="5529944" cy="414336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764972"/>
                <a:gridCol w="2764972"/>
              </a:tblGrid>
              <a:tr h="258960">
                <a:tc>
                  <a:txBody>
                    <a:bodyPr/>
                    <a:lstStyle/>
                    <a:p>
                      <a:r>
                        <a:rPr lang="en-PH" dirty="0" smtClean="0"/>
                        <a:t>Enter Details Here</a:t>
                      </a:r>
                      <a:endParaRPr lang="en-P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Process Name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Calculate</a:t>
                      </a:r>
                      <a:r>
                        <a:rPr lang="en-PH" baseline="0" dirty="0" smtClean="0">
                          <a:solidFill>
                            <a:schemeClr val="tx1"/>
                          </a:solidFill>
                        </a:rPr>
                        <a:t> Client Security Hash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Standard Input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No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Free Text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100%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Are there more than 1 application involved?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Yes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System</a:t>
                      </a:r>
                      <a:r>
                        <a:rPr lang="en-PH" baseline="0" dirty="0" smtClean="0">
                          <a:solidFill>
                            <a:schemeClr val="tx1"/>
                          </a:solidFill>
                        </a:rPr>
                        <a:t> Application (Microsoft)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System Application (Non-Microsoft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Web Application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SAP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Mainframe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Number of Screen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r>
                        <a:rPr lang="en-PH" baseline="0" dirty="0" smtClean="0">
                          <a:solidFill>
                            <a:schemeClr val="tx1"/>
                          </a:solidFill>
                        </a:rPr>
                        <a:t> – 10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Citrix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No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smtClean="0">
                          <a:solidFill>
                            <a:schemeClr val="tx1"/>
                          </a:solidFill>
                        </a:rPr>
                        <a:t>OCR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smtClean="0">
                          <a:solidFill>
                            <a:schemeClr val="tx1"/>
                          </a:solidFill>
                        </a:rPr>
                        <a:t>No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Complexity %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Complexity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Effort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" name="Google Shape;66;p15"/>
          <p:cNvSpPr txBox="1">
            <a:spLocks/>
          </p:cNvSpPr>
          <p:nvPr/>
        </p:nvSpPr>
        <p:spPr>
          <a:xfrm>
            <a:off x="311700" y="42903"/>
            <a:ext cx="8520600" cy="52968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14300" indent="0">
              <a:buNone/>
            </a:pPr>
            <a:r>
              <a:rPr lang="en-PH" sz="2000" b="1" dirty="0" smtClean="0">
                <a:solidFill>
                  <a:schemeClr val="bg1"/>
                </a:solidFill>
              </a:rPr>
              <a:t>Does this process </a:t>
            </a:r>
            <a:r>
              <a:rPr lang="en-PH" sz="2000" b="1" smtClean="0">
                <a:solidFill>
                  <a:schemeClr val="bg1"/>
                </a:solidFill>
              </a:rPr>
              <a:t>need OCR (image recognition software)?</a:t>
            </a:r>
            <a:endParaRPr lang="en-PH" sz="2000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700732" y="3972642"/>
            <a:ext cx="5529944" cy="32272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2115387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ectángulo 65"/>
          <p:cNvSpPr/>
          <p:nvPr/>
        </p:nvSpPr>
        <p:spPr>
          <a:xfrm>
            <a:off x="5734765" y="1374274"/>
            <a:ext cx="1470537" cy="407082"/>
          </a:xfrm>
          <a:prstGeom prst="rect">
            <a:avLst/>
          </a:prstGeom>
          <a:solidFill>
            <a:srgbClr val="E9F2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ángulo 7"/>
          <p:cNvSpPr/>
          <p:nvPr/>
        </p:nvSpPr>
        <p:spPr>
          <a:xfrm>
            <a:off x="1309555" y="1374274"/>
            <a:ext cx="1470537" cy="407082"/>
          </a:xfrm>
          <a:prstGeom prst="rect">
            <a:avLst/>
          </a:prstGeom>
          <a:solidFill>
            <a:srgbClr val="E9F2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7" name="Elbow Connector 53"/>
          <p:cNvCxnSpPr>
            <a:stCxn id="72" idx="2"/>
            <a:endCxn id="73" idx="0"/>
          </p:cNvCxnSpPr>
          <p:nvPr/>
        </p:nvCxnSpPr>
        <p:spPr>
          <a:xfrm rot="16200000" flipH="1">
            <a:off x="2480031" y="3096221"/>
            <a:ext cx="142751" cy="808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1"/>
          <p:cNvSpPr/>
          <p:nvPr/>
        </p:nvSpPr>
        <p:spPr>
          <a:xfrm>
            <a:off x="1401467" y="2045179"/>
            <a:ext cx="1078240" cy="414998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105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 of Function</a:t>
            </a:r>
          </a:p>
        </p:txBody>
      </p:sp>
      <p:sp>
        <p:nvSpPr>
          <p:cNvPr id="63" name="Rectangle 3"/>
          <p:cNvSpPr/>
          <p:nvPr/>
        </p:nvSpPr>
        <p:spPr>
          <a:xfrm>
            <a:off x="132680" y="2764937"/>
            <a:ext cx="854072" cy="353747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88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Evangelist</a:t>
            </a:r>
          </a:p>
        </p:txBody>
      </p:sp>
      <p:cxnSp>
        <p:nvCxnSpPr>
          <p:cNvPr id="64" name="Elbow Connector 5"/>
          <p:cNvCxnSpPr>
            <a:stCxn id="62" idx="2"/>
            <a:endCxn id="63" idx="0"/>
          </p:cNvCxnSpPr>
          <p:nvPr/>
        </p:nvCxnSpPr>
        <p:spPr>
          <a:xfrm rot="5400000">
            <a:off x="1130044" y="1932314"/>
            <a:ext cx="304760" cy="1360487"/>
          </a:xfrm>
          <a:prstGeom prst="bentConnector3">
            <a:avLst/>
          </a:prstGeom>
          <a:ln w="508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18"/>
          <p:cNvSpPr/>
          <p:nvPr/>
        </p:nvSpPr>
        <p:spPr>
          <a:xfrm>
            <a:off x="1113906" y="2771803"/>
            <a:ext cx="835014" cy="308991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88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s Owner (s)</a:t>
            </a:r>
          </a:p>
        </p:txBody>
      </p:sp>
      <p:sp>
        <p:nvSpPr>
          <p:cNvPr id="70" name="Rectangle 40"/>
          <p:cNvSpPr/>
          <p:nvPr/>
        </p:nvSpPr>
        <p:spPr>
          <a:xfrm>
            <a:off x="1035217" y="3186800"/>
            <a:ext cx="996485" cy="293667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5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Process SME (s)</a:t>
            </a:r>
          </a:p>
        </p:txBody>
      </p:sp>
      <p:cxnSp>
        <p:nvCxnSpPr>
          <p:cNvPr id="71" name="Elbow Connector 39"/>
          <p:cNvCxnSpPr>
            <a:stCxn id="67" idx="2"/>
            <a:endCxn id="70" idx="0"/>
          </p:cNvCxnSpPr>
          <p:nvPr/>
        </p:nvCxnSpPr>
        <p:spPr>
          <a:xfrm>
            <a:off x="1531413" y="3080794"/>
            <a:ext cx="2047" cy="106006"/>
          </a:xfrm>
          <a:prstGeom prst="straightConnector1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 46"/>
          <p:cNvSpPr/>
          <p:nvPr/>
        </p:nvSpPr>
        <p:spPr>
          <a:xfrm>
            <a:off x="2190323" y="2774868"/>
            <a:ext cx="656117" cy="317508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88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 Owner</a:t>
            </a:r>
          </a:p>
        </p:txBody>
      </p:sp>
      <p:sp>
        <p:nvSpPr>
          <p:cNvPr id="73" name="Rectangle 47"/>
          <p:cNvSpPr/>
          <p:nvPr/>
        </p:nvSpPr>
        <p:spPr>
          <a:xfrm>
            <a:off x="2191131" y="3168000"/>
            <a:ext cx="656117" cy="317508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88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s Analyst</a:t>
            </a:r>
          </a:p>
        </p:txBody>
      </p:sp>
      <p:sp>
        <p:nvSpPr>
          <p:cNvPr id="74" name="Rectangle 49"/>
          <p:cNvSpPr/>
          <p:nvPr/>
        </p:nvSpPr>
        <p:spPr>
          <a:xfrm>
            <a:off x="2941995" y="3175201"/>
            <a:ext cx="656117" cy="317508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88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Lead Developer</a:t>
            </a:r>
          </a:p>
        </p:txBody>
      </p:sp>
      <p:sp>
        <p:nvSpPr>
          <p:cNvPr id="75" name="Rectangle 50"/>
          <p:cNvSpPr/>
          <p:nvPr/>
        </p:nvSpPr>
        <p:spPr>
          <a:xfrm>
            <a:off x="2348131" y="3675728"/>
            <a:ext cx="787532" cy="317508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88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er</a:t>
            </a:r>
          </a:p>
        </p:txBody>
      </p:sp>
      <p:sp>
        <p:nvSpPr>
          <p:cNvPr id="76" name="Rectangle 52"/>
          <p:cNvSpPr/>
          <p:nvPr/>
        </p:nvSpPr>
        <p:spPr>
          <a:xfrm>
            <a:off x="3203001" y="3673921"/>
            <a:ext cx="656117" cy="317508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88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ster</a:t>
            </a:r>
          </a:p>
        </p:txBody>
      </p:sp>
      <p:cxnSp>
        <p:nvCxnSpPr>
          <p:cNvPr id="78" name="Elbow Connector 54"/>
          <p:cNvCxnSpPr>
            <a:stCxn id="81" idx="2"/>
            <a:endCxn id="74" idx="0"/>
          </p:cNvCxnSpPr>
          <p:nvPr/>
        </p:nvCxnSpPr>
        <p:spPr>
          <a:xfrm rot="16200000" flipH="1">
            <a:off x="3223323" y="3095847"/>
            <a:ext cx="156878" cy="1828"/>
          </a:xfrm>
          <a:prstGeom prst="bentConnector3">
            <a:avLst>
              <a:gd name="adj1" fmla="val 50000"/>
            </a:avLst>
          </a:pr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Elbow Connector 55"/>
          <p:cNvCxnSpPr>
            <a:stCxn id="74" idx="2"/>
            <a:endCxn id="75" idx="0"/>
          </p:cNvCxnSpPr>
          <p:nvPr/>
        </p:nvCxnSpPr>
        <p:spPr>
          <a:xfrm rot="5400000">
            <a:off x="2914467" y="3320140"/>
            <a:ext cx="183019" cy="528157"/>
          </a:xfrm>
          <a:prstGeom prst="bentConnector3">
            <a:avLst/>
          </a:pr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Elbow Connector 56"/>
          <p:cNvCxnSpPr>
            <a:stCxn id="74" idx="2"/>
            <a:endCxn id="76" idx="0"/>
          </p:cNvCxnSpPr>
          <p:nvPr/>
        </p:nvCxnSpPr>
        <p:spPr>
          <a:xfrm rot="16200000" flipH="1">
            <a:off x="3309951" y="3452812"/>
            <a:ext cx="181212" cy="261006"/>
          </a:xfrm>
          <a:prstGeom prst="bentConnector3">
            <a:avLst>
              <a:gd name="adj1" fmla="val 50000"/>
            </a:avLst>
          </a:pr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tangle 57"/>
          <p:cNvSpPr/>
          <p:nvPr/>
        </p:nvSpPr>
        <p:spPr>
          <a:xfrm>
            <a:off x="2940168" y="2767941"/>
            <a:ext cx="656117" cy="317508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88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rum Master</a:t>
            </a:r>
          </a:p>
        </p:txBody>
      </p:sp>
      <p:cxnSp>
        <p:nvCxnSpPr>
          <p:cNvPr id="82" name="Elbow Connector 59"/>
          <p:cNvCxnSpPr>
            <a:stCxn id="62" idx="2"/>
            <a:endCxn id="81" idx="0"/>
          </p:cNvCxnSpPr>
          <p:nvPr/>
        </p:nvCxnSpPr>
        <p:spPr>
          <a:xfrm rot="16200000" flipH="1">
            <a:off x="2450525" y="1950239"/>
            <a:ext cx="307764" cy="1327640"/>
          </a:xfrm>
          <a:prstGeom prst="bentConnector3">
            <a:avLst/>
          </a:pr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Elbow Connector 20"/>
          <p:cNvCxnSpPr>
            <a:stCxn id="62" idx="2"/>
            <a:endCxn id="67" idx="0"/>
          </p:cNvCxnSpPr>
          <p:nvPr/>
        </p:nvCxnSpPr>
        <p:spPr>
          <a:xfrm rot="5400000">
            <a:off x="1580187" y="2411403"/>
            <a:ext cx="311626" cy="409174"/>
          </a:xfrm>
          <a:prstGeom prst="bentConnector3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CuadroTexto 90"/>
          <p:cNvSpPr txBox="1"/>
          <p:nvPr/>
        </p:nvSpPr>
        <p:spPr>
          <a:xfrm>
            <a:off x="1395951" y="1430055"/>
            <a:ext cx="1271502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>
              <a:buClrTx/>
            </a:pPr>
            <a:r>
              <a:rPr lang="es-ES" sz="1350" kern="1200" dirty="0" err="1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E</a:t>
            </a:r>
            <a:r>
              <a:rPr lang="es-ES" sz="1350" kern="1200" dirty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Business</a:t>
            </a:r>
            <a:endParaRPr lang="en-US" sz="1350" kern="1200" dirty="0">
              <a:solidFill>
                <a:srgbClr val="4472C4">
                  <a:lumMod val="5000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2" name="CuadroTexto 91"/>
          <p:cNvSpPr txBox="1"/>
          <p:nvPr/>
        </p:nvSpPr>
        <p:spPr>
          <a:xfrm>
            <a:off x="5818766" y="1435992"/>
            <a:ext cx="1290738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>
              <a:buClrTx/>
            </a:pPr>
            <a:r>
              <a:rPr lang="es-ES" sz="1350" kern="1200" dirty="0" err="1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E</a:t>
            </a:r>
            <a:r>
              <a:rPr lang="es-ES" sz="1350" kern="1200" dirty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Core/ISG</a:t>
            </a:r>
            <a:endParaRPr lang="en-US" sz="1350" kern="1200" dirty="0">
              <a:solidFill>
                <a:srgbClr val="4472C4">
                  <a:lumMod val="5000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69" name="Elbow Connector 45"/>
          <p:cNvCxnSpPr>
            <a:stCxn id="62" idx="2"/>
            <a:endCxn id="72" idx="0"/>
          </p:cNvCxnSpPr>
          <p:nvPr/>
        </p:nvCxnSpPr>
        <p:spPr>
          <a:xfrm rot="16200000" flipH="1">
            <a:off x="2072139" y="2328624"/>
            <a:ext cx="314691" cy="577795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1"/>
          <p:cNvSpPr/>
          <p:nvPr/>
        </p:nvSpPr>
        <p:spPr>
          <a:xfrm>
            <a:off x="6611575" y="1944637"/>
            <a:ext cx="1156712" cy="230679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10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 of RPA</a:t>
            </a:r>
          </a:p>
        </p:txBody>
      </p:sp>
      <p:sp>
        <p:nvSpPr>
          <p:cNvPr id="61" name="Rectangle 2"/>
          <p:cNvSpPr/>
          <p:nvPr/>
        </p:nvSpPr>
        <p:spPr>
          <a:xfrm>
            <a:off x="5615261" y="2394301"/>
            <a:ext cx="1238960" cy="187261"/>
          </a:xfrm>
          <a:prstGeom prst="rect">
            <a:avLst/>
          </a:prstGeom>
          <a:solidFill>
            <a:srgbClr val="3675A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10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ivery Manager</a:t>
            </a:r>
          </a:p>
        </p:txBody>
      </p:sp>
      <p:cxnSp>
        <p:nvCxnSpPr>
          <p:cNvPr id="83" name="Elbow Connector 5"/>
          <p:cNvCxnSpPr>
            <a:stCxn id="109" idx="0"/>
            <a:endCxn id="87" idx="2"/>
          </p:cNvCxnSpPr>
          <p:nvPr/>
        </p:nvCxnSpPr>
        <p:spPr>
          <a:xfrm rot="16200000" flipV="1">
            <a:off x="5287370" y="2793195"/>
            <a:ext cx="146763" cy="795041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tangle 6"/>
          <p:cNvSpPr/>
          <p:nvPr/>
        </p:nvSpPr>
        <p:spPr>
          <a:xfrm>
            <a:off x="6288970" y="3256031"/>
            <a:ext cx="457380" cy="230679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L1</a:t>
            </a:r>
          </a:p>
        </p:txBody>
      </p:sp>
      <p:cxnSp>
        <p:nvCxnSpPr>
          <p:cNvPr id="85" name="Elbow Connector 8"/>
          <p:cNvCxnSpPr>
            <a:stCxn id="100" idx="2"/>
            <a:endCxn id="84" idx="0"/>
          </p:cNvCxnSpPr>
          <p:nvPr/>
        </p:nvCxnSpPr>
        <p:spPr>
          <a:xfrm rot="5400000">
            <a:off x="6721379" y="2865052"/>
            <a:ext cx="187260" cy="594699"/>
          </a:xfrm>
          <a:prstGeom prst="bentConnector3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tangle 11"/>
          <p:cNvSpPr/>
          <p:nvPr/>
        </p:nvSpPr>
        <p:spPr>
          <a:xfrm>
            <a:off x="7465286" y="3264097"/>
            <a:ext cx="681167" cy="273827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ra Squad Ops</a:t>
            </a:r>
          </a:p>
        </p:txBody>
      </p:sp>
      <p:sp>
        <p:nvSpPr>
          <p:cNvPr id="87" name="Rectangle 21"/>
          <p:cNvSpPr/>
          <p:nvPr/>
        </p:nvSpPr>
        <p:spPr>
          <a:xfrm>
            <a:off x="4641506" y="2801413"/>
            <a:ext cx="643448" cy="315921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ution Designer</a:t>
            </a:r>
          </a:p>
        </p:txBody>
      </p:sp>
      <p:sp>
        <p:nvSpPr>
          <p:cNvPr id="88" name="Rectangle 22"/>
          <p:cNvSpPr/>
          <p:nvPr/>
        </p:nvSpPr>
        <p:spPr>
          <a:xfrm>
            <a:off x="4098792" y="3254926"/>
            <a:ext cx="505761" cy="261272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s Analyst</a:t>
            </a:r>
          </a:p>
        </p:txBody>
      </p:sp>
      <p:sp>
        <p:nvSpPr>
          <p:cNvPr id="90" name="Rectangle 23"/>
          <p:cNvSpPr/>
          <p:nvPr/>
        </p:nvSpPr>
        <p:spPr>
          <a:xfrm>
            <a:off x="4621224" y="3725766"/>
            <a:ext cx="679311" cy="352144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Lead Developer</a:t>
            </a:r>
          </a:p>
        </p:txBody>
      </p:sp>
      <p:cxnSp>
        <p:nvCxnSpPr>
          <p:cNvPr id="93" name="Elbow Connector 26"/>
          <p:cNvCxnSpPr>
            <a:stCxn id="61" idx="2"/>
            <a:endCxn id="87" idx="0"/>
          </p:cNvCxnSpPr>
          <p:nvPr/>
        </p:nvCxnSpPr>
        <p:spPr>
          <a:xfrm rot="5400000">
            <a:off x="5468234" y="2100582"/>
            <a:ext cx="219851" cy="1181810"/>
          </a:xfrm>
          <a:prstGeom prst="bentConnector3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tangle 27"/>
          <p:cNvSpPr/>
          <p:nvPr/>
        </p:nvSpPr>
        <p:spPr>
          <a:xfrm>
            <a:off x="4347399" y="4292611"/>
            <a:ext cx="655577" cy="230679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er</a:t>
            </a:r>
          </a:p>
        </p:txBody>
      </p:sp>
      <p:sp>
        <p:nvSpPr>
          <p:cNvPr id="95" name="Rectangle 28"/>
          <p:cNvSpPr/>
          <p:nvPr/>
        </p:nvSpPr>
        <p:spPr>
          <a:xfrm>
            <a:off x="5036120" y="4292611"/>
            <a:ext cx="457380" cy="230679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ster</a:t>
            </a:r>
          </a:p>
        </p:txBody>
      </p:sp>
      <p:cxnSp>
        <p:nvCxnSpPr>
          <p:cNvPr id="96" name="Elbow Connector 30"/>
          <p:cNvCxnSpPr>
            <a:stCxn id="87" idx="2"/>
            <a:endCxn id="88" idx="0"/>
          </p:cNvCxnSpPr>
          <p:nvPr/>
        </p:nvCxnSpPr>
        <p:spPr>
          <a:xfrm rot="5400000">
            <a:off x="4588656" y="2880352"/>
            <a:ext cx="137592" cy="611557"/>
          </a:xfrm>
          <a:prstGeom prst="bentConnector3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Elbow Connector 32"/>
          <p:cNvCxnSpPr>
            <a:stCxn id="106" idx="2"/>
            <a:endCxn id="90" idx="0"/>
          </p:cNvCxnSpPr>
          <p:nvPr/>
        </p:nvCxnSpPr>
        <p:spPr>
          <a:xfrm flipH="1">
            <a:off x="4960880" y="3588174"/>
            <a:ext cx="1095" cy="137592"/>
          </a:xfrm>
          <a:prstGeom prst="straightConnector1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Elbow Connector 36"/>
          <p:cNvCxnSpPr>
            <a:stCxn id="90" idx="2"/>
            <a:endCxn id="94" idx="0"/>
          </p:cNvCxnSpPr>
          <p:nvPr/>
        </p:nvCxnSpPr>
        <p:spPr>
          <a:xfrm rot="5400000">
            <a:off x="4710684" y="4042414"/>
            <a:ext cx="214701" cy="285692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Elbow Connector 38"/>
          <p:cNvCxnSpPr>
            <a:stCxn id="90" idx="2"/>
            <a:endCxn id="95" idx="0"/>
          </p:cNvCxnSpPr>
          <p:nvPr/>
        </p:nvCxnSpPr>
        <p:spPr>
          <a:xfrm rot="16200000" flipH="1">
            <a:off x="5005495" y="4033295"/>
            <a:ext cx="214701" cy="303930"/>
          </a:xfrm>
          <a:prstGeom prst="bentConnector3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tangle 42"/>
          <p:cNvSpPr/>
          <p:nvPr/>
        </p:nvSpPr>
        <p:spPr>
          <a:xfrm>
            <a:off x="6656891" y="2804176"/>
            <a:ext cx="908934" cy="272662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8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</a:t>
            </a:r>
            <a:r>
              <a:rPr lang="en-PH" sz="800" kern="12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DM / </a:t>
            </a:r>
            <a:r>
              <a:rPr lang="en-PH" sz="8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Ops Coach</a:t>
            </a:r>
          </a:p>
        </p:txBody>
      </p:sp>
      <p:sp>
        <p:nvSpPr>
          <p:cNvPr id="101" name="Rectangle 43"/>
          <p:cNvSpPr/>
          <p:nvPr/>
        </p:nvSpPr>
        <p:spPr>
          <a:xfrm>
            <a:off x="6838101" y="3256030"/>
            <a:ext cx="591821" cy="308017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00" kern="12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Ops</a:t>
            </a:r>
            <a:r>
              <a:rPr lang="en-PH" sz="7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ngineer</a:t>
            </a:r>
          </a:p>
        </p:txBody>
      </p:sp>
      <p:cxnSp>
        <p:nvCxnSpPr>
          <p:cNvPr id="102" name="Elbow Connector 45"/>
          <p:cNvCxnSpPr>
            <a:stCxn id="61" idx="2"/>
            <a:endCxn id="100" idx="0"/>
          </p:cNvCxnSpPr>
          <p:nvPr/>
        </p:nvCxnSpPr>
        <p:spPr>
          <a:xfrm rot="16200000" flipH="1">
            <a:off x="6529405" y="2221221"/>
            <a:ext cx="222614" cy="943295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Elbow Connector 39"/>
          <p:cNvCxnSpPr>
            <a:stCxn id="100" idx="2"/>
            <a:endCxn id="101" idx="0"/>
          </p:cNvCxnSpPr>
          <p:nvPr/>
        </p:nvCxnSpPr>
        <p:spPr>
          <a:xfrm flipH="1">
            <a:off x="7110131" y="3068771"/>
            <a:ext cx="2228" cy="187260"/>
          </a:xfrm>
          <a:prstGeom prst="straightConnector1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Rectangle 40"/>
          <p:cNvSpPr/>
          <p:nvPr/>
        </p:nvSpPr>
        <p:spPr>
          <a:xfrm>
            <a:off x="6731009" y="3641666"/>
            <a:ext cx="756990" cy="410789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Orchestrator Ops Team</a:t>
            </a:r>
          </a:p>
        </p:txBody>
      </p:sp>
      <p:cxnSp>
        <p:nvCxnSpPr>
          <p:cNvPr id="105" name="Elbow Connector 41"/>
          <p:cNvCxnSpPr>
            <a:stCxn id="101" idx="2"/>
            <a:endCxn id="104" idx="0"/>
          </p:cNvCxnSpPr>
          <p:nvPr/>
        </p:nvCxnSpPr>
        <p:spPr>
          <a:xfrm rot="5400000">
            <a:off x="7057946" y="3589481"/>
            <a:ext cx="103743" cy="627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tangle 46"/>
          <p:cNvSpPr/>
          <p:nvPr/>
        </p:nvSpPr>
        <p:spPr>
          <a:xfrm>
            <a:off x="4712301" y="3252604"/>
            <a:ext cx="499348" cy="335570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rum Master</a:t>
            </a:r>
          </a:p>
        </p:txBody>
      </p:sp>
      <p:cxnSp>
        <p:nvCxnSpPr>
          <p:cNvPr id="107" name="Elbow Connector 49"/>
          <p:cNvCxnSpPr>
            <a:stCxn id="87" idx="2"/>
            <a:endCxn id="106" idx="0"/>
          </p:cNvCxnSpPr>
          <p:nvPr/>
        </p:nvCxnSpPr>
        <p:spPr>
          <a:xfrm flipH="1">
            <a:off x="4961975" y="3117334"/>
            <a:ext cx="1255" cy="135270"/>
          </a:xfrm>
          <a:prstGeom prst="straightConnector1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tangle 37"/>
          <p:cNvSpPr/>
          <p:nvPr/>
        </p:nvSpPr>
        <p:spPr>
          <a:xfrm>
            <a:off x="7645652" y="2396565"/>
            <a:ext cx="1350029" cy="184996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10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tform Manager</a:t>
            </a:r>
          </a:p>
        </p:txBody>
      </p:sp>
      <p:sp>
        <p:nvSpPr>
          <p:cNvPr id="109" name="Rectangle 47"/>
          <p:cNvSpPr/>
          <p:nvPr/>
        </p:nvSpPr>
        <p:spPr>
          <a:xfrm>
            <a:off x="5319324" y="3264097"/>
            <a:ext cx="877894" cy="377570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ra Squad Implementation</a:t>
            </a:r>
          </a:p>
        </p:txBody>
      </p:sp>
      <p:cxnSp>
        <p:nvCxnSpPr>
          <p:cNvPr id="110" name="Elbow Connector 50"/>
          <p:cNvCxnSpPr>
            <a:stCxn id="86" idx="0"/>
            <a:endCxn id="100" idx="2"/>
          </p:cNvCxnSpPr>
          <p:nvPr/>
        </p:nvCxnSpPr>
        <p:spPr>
          <a:xfrm rot="16200000" flipV="1">
            <a:off x="7361452" y="2819679"/>
            <a:ext cx="195326" cy="693511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Elbow Connector 26"/>
          <p:cNvCxnSpPr>
            <a:stCxn id="60" idx="2"/>
            <a:endCxn id="61" idx="0"/>
          </p:cNvCxnSpPr>
          <p:nvPr/>
        </p:nvCxnSpPr>
        <p:spPr>
          <a:xfrm rot="5400000">
            <a:off x="6602844" y="1807213"/>
            <a:ext cx="218985" cy="955190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Elbow Connector 26"/>
          <p:cNvCxnSpPr>
            <a:stCxn id="108" idx="0"/>
            <a:endCxn id="60" idx="2"/>
          </p:cNvCxnSpPr>
          <p:nvPr/>
        </p:nvCxnSpPr>
        <p:spPr>
          <a:xfrm rot="16200000" flipV="1">
            <a:off x="7644675" y="1720573"/>
            <a:ext cx="221249" cy="1130736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3" name="Imagen 1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39081" y="910540"/>
            <a:ext cx="748755" cy="806072"/>
          </a:xfrm>
          <a:prstGeom prst="rect">
            <a:avLst/>
          </a:prstGeom>
        </p:spPr>
      </p:pic>
      <p:cxnSp>
        <p:nvCxnSpPr>
          <p:cNvPr id="114" name="Conector recto 113"/>
          <p:cNvCxnSpPr/>
          <p:nvPr/>
        </p:nvCxnSpPr>
        <p:spPr>
          <a:xfrm flipH="1" flipV="1">
            <a:off x="4006201" y="1761540"/>
            <a:ext cx="7257" cy="2808000"/>
          </a:xfrm>
          <a:prstGeom prst="line">
            <a:avLst/>
          </a:prstGeom>
          <a:ln w="12700" cap="sq">
            <a:solidFill>
              <a:schemeClr val="tx1"/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ángulo 1"/>
          <p:cNvSpPr/>
          <p:nvPr/>
        </p:nvSpPr>
        <p:spPr>
          <a:xfrm>
            <a:off x="2363142" y="4323239"/>
            <a:ext cx="310477" cy="195943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uadroTexto 3"/>
          <p:cNvSpPr txBox="1"/>
          <p:nvPr/>
        </p:nvSpPr>
        <p:spPr>
          <a:xfrm>
            <a:off x="2643703" y="4307042"/>
            <a:ext cx="128403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Optional</a:t>
            </a:r>
            <a:r>
              <a:rPr lang="es-E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es-E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business</a:t>
            </a:r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Google Shape;59;p14"/>
          <p:cNvSpPr txBox="1">
            <a:spLocks/>
          </p:cNvSpPr>
          <p:nvPr/>
        </p:nvSpPr>
        <p:spPr>
          <a:xfrm>
            <a:off x="234314" y="138485"/>
            <a:ext cx="8832294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RPA </a:t>
            </a:r>
            <a:r>
              <a:rPr lang="en-US" sz="28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oE</a:t>
            </a:r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ORGANIZATION STRUCTURE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Rectangle 2"/>
          <p:cNvSpPr/>
          <p:nvPr/>
        </p:nvSpPr>
        <p:spPr>
          <a:xfrm>
            <a:off x="4196287" y="2372044"/>
            <a:ext cx="1238960" cy="230873"/>
          </a:xfrm>
          <a:prstGeom prst="rect">
            <a:avLst/>
          </a:prstGeom>
          <a:solidFill>
            <a:srgbClr val="3675A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00" kern="12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inuous Improvement Manager</a:t>
            </a:r>
            <a:endParaRPr lang="en-PH" sz="700" kern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5" name="Elbow Connector 26"/>
          <p:cNvCxnSpPr>
            <a:stCxn id="60" idx="2"/>
            <a:endCxn id="59" idx="0"/>
          </p:cNvCxnSpPr>
          <p:nvPr/>
        </p:nvCxnSpPr>
        <p:spPr>
          <a:xfrm rot="5400000">
            <a:off x="5904485" y="1086598"/>
            <a:ext cx="196728" cy="2374164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Elbow Connector 20"/>
          <p:cNvCxnSpPr>
            <a:stCxn id="62" idx="2"/>
            <a:endCxn id="63" idx="0"/>
          </p:cNvCxnSpPr>
          <p:nvPr/>
        </p:nvCxnSpPr>
        <p:spPr>
          <a:xfrm rot="5400000">
            <a:off x="1097772" y="1922122"/>
            <a:ext cx="304760" cy="1380871"/>
          </a:xfrm>
          <a:prstGeom prst="bentConnector3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4" name="Rectangle 11"/>
          <p:cNvSpPr/>
          <p:nvPr/>
        </p:nvSpPr>
        <p:spPr>
          <a:xfrm>
            <a:off x="7980082" y="2801413"/>
            <a:ext cx="681167" cy="273827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00" kern="12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tform SDM(s)</a:t>
            </a:r>
            <a:endParaRPr lang="en-PH" sz="700" kern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25" name="Elbow Connector 45"/>
          <p:cNvCxnSpPr>
            <a:stCxn id="100" idx="3"/>
            <a:endCxn id="224" idx="1"/>
          </p:cNvCxnSpPr>
          <p:nvPr/>
        </p:nvCxnSpPr>
        <p:spPr>
          <a:xfrm flipV="1">
            <a:off x="7565825" y="2938327"/>
            <a:ext cx="414257" cy="2180"/>
          </a:xfrm>
          <a:prstGeom prst="straightConnector1">
            <a:avLst/>
          </a:prstGeom>
          <a:ln w="50800">
            <a:solidFill>
              <a:srgbClr val="3675A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275031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2384813"/>
              </p:ext>
            </p:extLst>
          </p:nvPr>
        </p:nvGraphicFramePr>
        <p:xfrm>
          <a:off x="1700732" y="887384"/>
          <a:ext cx="5529944" cy="414336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764972"/>
                <a:gridCol w="2764972"/>
              </a:tblGrid>
              <a:tr h="258960">
                <a:tc>
                  <a:txBody>
                    <a:bodyPr/>
                    <a:lstStyle/>
                    <a:p>
                      <a:r>
                        <a:rPr lang="en-PH" dirty="0" smtClean="0"/>
                        <a:t>Enter Details Here</a:t>
                      </a:r>
                      <a:endParaRPr lang="en-P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Process Name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Calculate</a:t>
                      </a:r>
                      <a:r>
                        <a:rPr lang="en-PH" baseline="0" dirty="0" smtClean="0">
                          <a:solidFill>
                            <a:schemeClr val="tx1"/>
                          </a:solidFill>
                        </a:rPr>
                        <a:t> Client Security Hash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Standard Input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No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Free Text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100%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Are there more than 1 application involved?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Yes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System</a:t>
                      </a:r>
                      <a:r>
                        <a:rPr lang="en-PH" baseline="0" dirty="0" smtClean="0">
                          <a:solidFill>
                            <a:schemeClr val="tx1"/>
                          </a:solidFill>
                        </a:rPr>
                        <a:t> Application (Microsoft)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System Application (Non-Microsoft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Web Application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SAP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Mainframe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Number of Screen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r>
                        <a:rPr lang="en-PH" baseline="0" dirty="0" smtClean="0">
                          <a:solidFill>
                            <a:schemeClr val="tx1"/>
                          </a:solidFill>
                        </a:rPr>
                        <a:t> – 10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Citrix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No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chemeClr val="tx1"/>
                          </a:solidFill>
                        </a:rPr>
                        <a:t>OCR</a:t>
                      </a:r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PH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Complexity %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32.00%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Complexity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Medium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58960">
                <a:tc>
                  <a:txBody>
                    <a:bodyPr/>
                    <a:lstStyle/>
                    <a:p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Effort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dirty="0" smtClean="0">
                          <a:solidFill>
                            <a:srgbClr val="FFFFFF"/>
                          </a:solidFill>
                        </a:rPr>
                        <a:t>Low</a:t>
                      </a:r>
                      <a:endParaRPr lang="en-PH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" name="Google Shape;66;p15"/>
          <p:cNvSpPr txBox="1">
            <a:spLocks/>
          </p:cNvSpPr>
          <p:nvPr/>
        </p:nvSpPr>
        <p:spPr>
          <a:xfrm>
            <a:off x="311700" y="42903"/>
            <a:ext cx="8520600" cy="52968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14300" indent="0">
              <a:buNone/>
            </a:pPr>
            <a:r>
              <a:rPr lang="en-PH" sz="2000" b="1" dirty="0" smtClean="0">
                <a:solidFill>
                  <a:schemeClr val="bg1"/>
                </a:solidFill>
              </a:rPr>
              <a:t>How complex is the process?</a:t>
            </a:r>
            <a:endParaRPr lang="en-PH" sz="2000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700732" y="4510526"/>
            <a:ext cx="5529944" cy="53788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  <p:sp>
        <p:nvSpPr>
          <p:cNvPr id="5" name="TextBox 4"/>
          <p:cNvSpPr txBox="1"/>
          <p:nvPr/>
        </p:nvSpPr>
        <p:spPr>
          <a:xfrm>
            <a:off x="7422776" y="1982477"/>
            <a:ext cx="1506071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PH" dirty="0" smtClean="0">
                <a:solidFill>
                  <a:schemeClr val="bg1"/>
                </a:solidFill>
              </a:rPr>
              <a:t>After completing the inputs for the parameters above, the Complexity and Effort will be automatically computed. Now, match this to the complexity matrix to get the development days needed</a:t>
            </a:r>
            <a:endParaRPr lang="en-PH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9926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0" y="2105383"/>
            <a:ext cx="6858000" cy="572625"/>
          </a:xfrm>
          <a:solidFill>
            <a:srgbClr val="0070C0"/>
          </a:solidFill>
        </p:spPr>
        <p:txBody>
          <a:bodyPr/>
          <a:lstStyle/>
          <a:p>
            <a:pPr algn="ctr"/>
            <a:r>
              <a:rPr lang="en-PH" sz="2700" dirty="0"/>
              <a:t>ROI CALCULATOR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88782" y="2862887"/>
            <a:ext cx="2216944" cy="207254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8490" y="306778"/>
            <a:ext cx="2420040" cy="1502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320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6;p15"/>
          <p:cNvSpPr txBox="1">
            <a:spLocks/>
          </p:cNvSpPr>
          <p:nvPr/>
        </p:nvSpPr>
        <p:spPr>
          <a:xfrm>
            <a:off x="311700" y="42903"/>
            <a:ext cx="8520600" cy="52968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14300" indent="0">
              <a:buNone/>
            </a:pPr>
            <a:r>
              <a:rPr lang="en-PH" sz="2000" b="1" dirty="0" smtClean="0">
                <a:solidFill>
                  <a:schemeClr val="bg1"/>
                </a:solidFill>
              </a:rPr>
              <a:t>How do we use the calculator?</a:t>
            </a:r>
            <a:endParaRPr lang="en-PH" sz="2000" dirty="0">
              <a:solidFill>
                <a:schemeClr val="bg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503303" y="749991"/>
            <a:ext cx="803365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o to ROI Calculator fi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On “Savings” sheet</a:t>
            </a:r>
            <a:r>
              <a:rPr lang="en-US">
                <a:solidFill>
                  <a:schemeClr val="bg1"/>
                </a:solidFill>
              </a:rPr>
              <a:t>, </a:t>
            </a:r>
            <a:r>
              <a:rPr lang="en-US" smtClean="0">
                <a:solidFill>
                  <a:schemeClr val="bg1"/>
                </a:solidFill>
              </a:rPr>
              <a:t>enter </a:t>
            </a:r>
            <a:r>
              <a:rPr lang="en-US">
                <a:solidFill>
                  <a:schemeClr val="bg1"/>
                </a:solidFill>
              </a:rPr>
              <a:t>the annual costs for both Globe Employee and Vendoer Employee before the implementation of RPA. The </a:t>
            </a:r>
            <a:r>
              <a:rPr lang="en-US" smtClean="0">
                <a:solidFill>
                  <a:schemeClr val="bg1"/>
                </a:solidFill>
              </a:rPr>
              <a:t>cost </a:t>
            </a:r>
            <a:r>
              <a:rPr lang="en-US">
                <a:solidFill>
                  <a:schemeClr val="bg1"/>
                </a:solidFill>
              </a:rPr>
              <a:t>should be based on the time spent doing the process/task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03302" y="3124644"/>
            <a:ext cx="803365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bg1"/>
                </a:solidFill>
              </a:rPr>
              <a:t>enter the annual costs for both Globe Employee and Vendoer Employee </a:t>
            </a:r>
            <a:r>
              <a:rPr lang="en-US" smtClean="0">
                <a:solidFill>
                  <a:schemeClr val="bg1"/>
                </a:solidFill>
              </a:rPr>
              <a:t>after </a:t>
            </a:r>
            <a:r>
              <a:rPr lang="en-US">
                <a:solidFill>
                  <a:schemeClr val="bg1"/>
                </a:solidFill>
              </a:rPr>
              <a:t>the implementation of RPA. The cost should be based on the time spent doing the process/task.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0285" y="1767642"/>
            <a:ext cx="7722454" cy="88187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4505" y="3651636"/>
            <a:ext cx="7722454" cy="836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448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6;p15"/>
          <p:cNvSpPr txBox="1">
            <a:spLocks/>
          </p:cNvSpPr>
          <p:nvPr/>
        </p:nvSpPr>
        <p:spPr>
          <a:xfrm>
            <a:off x="311700" y="42903"/>
            <a:ext cx="8520600" cy="52968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14300" indent="0">
              <a:buNone/>
            </a:pPr>
            <a:r>
              <a:rPr lang="en-PH" sz="2000" b="1" dirty="0" smtClean="0">
                <a:solidFill>
                  <a:schemeClr val="bg1"/>
                </a:solidFill>
              </a:rPr>
              <a:t>How do we use the calculator?</a:t>
            </a:r>
            <a:endParaRPr lang="en-PH" sz="2000" dirty="0">
              <a:solidFill>
                <a:schemeClr val="bg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503303" y="749991"/>
            <a:ext cx="803365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Both internal and external FTE savings will be computed.</a:t>
            </a:r>
          </a:p>
        </p:txBody>
      </p:sp>
      <p:sp>
        <p:nvSpPr>
          <p:cNvPr id="8" name="Rectangle 7"/>
          <p:cNvSpPr/>
          <p:nvPr/>
        </p:nvSpPr>
        <p:spPr>
          <a:xfrm>
            <a:off x="503302" y="2686656"/>
            <a:ext cx="803365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On “Development” sheet, enter the development and work </a:t>
            </a:r>
            <a:r>
              <a:rPr lang="en-US">
                <a:solidFill>
                  <a:schemeClr val="bg1"/>
                </a:solidFill>
              </a:rPr>
              <a:t>team </a:t>
            </a:r>
            <a:r>
              <a:rPr lang="en-US" smtClean="0">
                <a:solidFill>
                  <a:schemeClr val="bg1"/>
                </a:solidFill>
              </a:rPr>
              <a:t>costs. This should be aligned with the providers.</a:t>
            </a:r>
            <a:endParaRPr lang="en-PH" dirty="0">
              <a:solidFill>
                <a:schemeClr val="bg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1062" y="1143549"/>
            <a:ext cx="7381875" cy="145732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1062" y="3302464"/>
            <a:ext cx="7477125" cy="1400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119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6;p15"/>
          <p:cNvSpPr txBox="1">
            <a:spLocks/>
          </p:cNvSpPr>
          <p:nvPr/>
        </p:nvSpPr>
        <p:spPr>
          <a:xfrm>
            <a:off x="311700" y="42903"/>
            <a:ext cx="8520600" cy="52968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14300" indent="0">
              <a:buNone/>
            </a:pPr>
            <a:r>
              <a:rPr lang="en-PH" sz="2000" b="1" dirty="0" smtClean="0">
                <a:solidFill>
                  <a:schemeClr val="bg1"/>
                </a:solidFill>
              </a:rPr>
              <a:t>How do we use the calculator?</a:t>
            </a:r>
            <a:endParaRPr lang="en-PH" sz="2000" dirty="0">
              <a:solidFill>
                <a:schemeClr val="bg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503303" y="749991"/>
            <a:ext cx="803365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On "Training" sheet, enter the training </a:t>
            </a:r>
            <a:r>
              <a:rPr lang="en-US">
                <a:solidFill>
                  <a:schemeClr val="bg1"/>
                </a:solidFill>
              </a:rPr>
              <a:t>cost</a:t>
            </a:r>
            <a:r>
              <a:rPr lang="en-US" smtClean="0">
                <a:solidFill>
                  <a:schemeClr val="bg1"/>
                </a:solidFill>
              </a:rPr>
              <a:t>. These are necessary trainings due to changes in the process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03302" y="2440768"/>
            <a:ext cx="803365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bg1"/>
                </a:solidFill>
              </a:rPr>
              <a:t>Go to the "Licenses" sheet, and enter the number of robots and annual license cost. Number of license should be based on the formula set in the guidelines.</a:t>
            </a:r>
            <a:endParaRPr lang="en-PH" dirty="0">
              <a:solidFill>
                <a:schemeClr val="bg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6443" y="1471227"/>
            <a:ext cx="5438775" cy="77152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6443" y="3154745"/>
            <a:ext cx="6842851" cy="1742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6901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6;p15"/>
          <p:cNvSpPr txBox="1">
            <a:spLocks/>
          </p:cNvSpPr>
          <p:nvPr/>
        </p:nvSpPr>
        <p:spPr>
          <a:xfrm>
            <a:off x="311700" y="42903"/>
            <a:ext cx="8520600" cy="52968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14300" indent="0">
              <a:buNone/>
            </a:pPr>
            <a:r>
              <a:rPr lang="en-PH" sz="2000" b="1" dirty="0" smtClean="0">
                <a:solidFill>
                  <a:schemeClr val="bg1"/>
                </a:solidFill>
              </a:rPr>
              <a:t>How do we use the calculator?</a:t>
            </a:r>
            <a:endParaRPr lang="en-PH" sz="2000" dirty="0">
              <a:solidFill>
                <a:schemeClr val="bg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503303" y="749991"/>
            <a:ext cx="803365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bg1"/>
                </a:solidFill>
              </a:rPr>
              <a:t>Go to the "Maintenance" sheet, and enter the maintenance cost. (standardized costs from the respective department)</a:t>
            </a:r>
            <a:endParaRPr lang="en-PH" dirty="0">
              <a:solidFill>
                <a:schemeClr val="bg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03302" y="2440768"/>
            <a:ext cx="803365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bg1"/>
                </a:solidFill>
              </a:rPr>
              <a:t>Go to the "Economic Impact" sheet, and enter the revenue, avoided risks and risks, if any.</a:t>
            </a:r>
            <a:endParaRPr lang="en-PH" dirty="0">
              <a:solidFill>
                <a:schemeClr val="bg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6428" y="1271202"/>
            <a:ext cx="5267325" cy="117157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6427" y="2963988"/>
            <a:ext cx="5267325" cy="1609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85404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6;p15"/>
          <p:cNvSpPr txBox="1">
            <a:spLocks/>
          </p:cNvSpPr>
          <p:nvPr/>
        </p:nvSpPr>
        <p:spPr>
          <a:xfrm>
            <a:off x="311700" y="42903"/>
            <a:ext cx="8520600" cy="52968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14300" indent="0">
              <a:buNone/>
            </a:pPr>
            <a:r>
              <a:rPr lang="en-PH" sz="2000" b="1" dirty="0" smtClean="0">
                <a:solidFill>
                  <a:schemeClr val="bg1"/>
                </a:solidFill>
              </a:rPr>
              <a:t>How do we use the calculator?</a:t>
            </a:r>
            <a:endParaRPr lang="en-PH" sz="2000" dirty="0">
              <a:solidFill>
                <a:schemeClr val="bg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903673"/>
            <a:ext cx="211695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FFFFFF"/>
                </a:solidFill>
              </a:rPr>
              <a:t>On "ROI" sheet, the ROI will be computed based on the savings, costs and economic impact.</a:t>
            </a:r>
            <a:endParaRPr lang="en-PH" dirty="0">
              <a:solidFill>
                <a:srgbClr val="FFFFFF"/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2703033"/>
              </p:ext>
            </p:extLst>
          </p:nvPr>
        </p:nvGraphicFramePr>
        <p:xfrm>
          <a:off x="3114569" y="668517"/>
          <a:ext cx="3224759" cy="4280001"/>
        </p:xfrm>
        <a:graphic>
          <a:graphicData uri="http://schemas.openxmlformats.org/drawingml/2006/table">
            <a:tbl>
              <a:tblPr/>
              <a:tblGrid>
                <a:gridCol w="163388"/>
                <a:gridCol w="2132641"/>
                <a:gridCol w="928730"/>
              </a:tblGrid>
              <a:tr h="147683"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ROI  </a:t>
                      </a:r>
                      <a:r>
                        <a:rPr lang="en-PH" sz="7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(payback period, in months of a year)</a:t>
                      </a:r>
                      <a:endParaRPr lang="en-PH" sz="7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86" marR="3886" marT="3886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86" marR="3886" marT="38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</a:tr>
              <a:tr h="144877"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47683"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1" i="0" u="none" strike="noStrike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Savings 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700" b="1" i="0" u="none" strike="noStrike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PHP                            -   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</a:tr>
              <a:tr h="147683"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Annual Cost of FTE before RPA (Globe Employees)  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ECF2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700" b="0" i="0" u="none" strike="noStrike" dirty="0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PHP                             -   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47683"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Annual Cost of FTE before RPA  (Vendor)     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ECF2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700" b="0" i="0" u="none" strike="noStrike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PHP                             -   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47683"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Annual Cost of FTE after RPA (Globe Employees)  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ECF2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700" b="0" i="0" u="none" strike="noStrike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PHP                             -   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47683"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Annual Cost of FTE after RPA  (Vendor) 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ECF2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700" b="0" i="0" u="none" strike="noStrike" dirty="0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PHP                             -   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47683"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47683"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1" i="0" u="none" strike="noStrike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Cost Development  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700" b="1" i="0" u="none" strike="noStrike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PHP                            -   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</a:tr>
              <a:tr h="147683"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Development Costs 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ECF2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700" b="0" i="0" u="none" strike="noStrike" dirty="0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PHP                             -   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47683"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Studio License Cost 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ECF2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700" b="0" i="0" u="none" strike="noStrike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47683"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Work Team Costs (i.e. Internal, if applicable)     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ECF2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700" b="0" i="0" u="none" strike="noStrike" dirty="0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PHP                             -   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47683"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47683"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1" i="0" u="none" strike="noStrike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Cost Training  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700" b="1" i="0" u="none" strike="noStrike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PHP                            -   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</a:tr>
              <a:tr h="147683"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47683"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1" i="0" u="none" strike="noStrike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Cost Licences 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700" b="1" i="0" u="none" strike="noStrike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PHP                            -   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</a:tr>
              <a:tr h="147683"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Number of Attended Robots   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ECF2F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PH" sz="700" b="0" i="1" u="none" strike="noStrike" dirty="0">
                          <a:solidFill>
                            <a:srgbClr val="969696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47683"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Number of Unattended Robots 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ECF2F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PH" sz="700" b="0" i="1" u="none" strike="noStrike">
                          <a:solidFill>
                            <a:srgbClr val="969696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47683"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Attended Robot Licence (PHP/Year)  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ECF2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700" b="0" i="0" u="none" strike="noStrike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PHP                             -   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47683"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Unattended Robot Licence (PHP/Year)  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ECF2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700" b="0" i="0" u="none" strike="noStrike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PHP                             -   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47683"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Orchestrator License (PHP/Year) 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ECF2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700" b="0" i="0" u="none" strike="noStrike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PHP                             -   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47683"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Other License (PHP/Year) 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ECF2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700" b="0" i="0" u="none" strike="noStrike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PHP                             -   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47683">
                <a:tc>
                  <a:txBody>
                    <a:bodyPr/>
                    <a:lstStyle/>
                    <a:p>
                      <a:pPr algn="l" fontAlgn="b"/>
                      <a:endParaRPr lang="en-PH" sz="700" b="0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PH" sz="700" b="0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PH" sz="700" b="0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47683"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1" i="0" u="none" strike="noStrike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Cost Maintenance  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700" b="1" i="0" u="none" strike="noStrike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PHP                            -   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</a:tr>
              <a:tr h="147683"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PH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47683"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1" i="0" u="none" strike="noStrike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 Economic Impact 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700" b="1" i="0" u="none" strike="noStrike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PHP                            -   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</a:tr>
              <a:tr h="147683"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Revenue 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ECF2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700" b="0" i="0" u="none" strike="noStrike" dirty="0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PHP                             -   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47683"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Avoided Risks 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ECF2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700" b="0" i="0" u="none" strike="noStrike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PHP                             -   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47683"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PH" sz="700" b="0" i="0" u="none" strike="noStrike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Risks 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ECF2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700" b="0" i="0" u="none" strike="noStrike" dirty="0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PHP                             -   </a:t>
                      </a:r>
                    </a:p>
                  </a:txBody>
                  <a:tcPr marL="3886" marR="3886" marT="38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02903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0" y="2040413"/>
            <a:ext cx="6858000" cy="572625"/>
          </a:xfrm>
          <a:solidFill>
            <a:srgbClr val="0070C0"/>
          </a:solidFill>
        </p:spPr>
        <p:txBody>
          <a:bodyPr/>
          <a:lstStyle/>
          <a:p>
            <a:pPr algn="ctr"/>
            <a:r>
              <a:rPr lang="en-PH" sz="2700" dirty="0"/>
              <a:t>BUSINESS CASE TEMPLATE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2316" y="204105"/>
            <a:ext cx="2865835" cy="1682333"/>
          </a:xfrm>
          <a:prstGeom prst="rect">
            <a:avLst/>
          </a:prstGeom>
        </p:spPr>
      </p:pic>
      <p:pic>
        <p:nvPicPr>
          <p:cNvPr id="14338" name="Picture 2" descr="Image result for busines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5299" y="3301264"/>
            <a:ext cx="2865701" cy="18422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36638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6;p15"/>
          <p:cNvSpPr txBox="1">
            <a:spLocks/>
          </p:cNvSpPr>
          <p:nvPr/>
        </p:nvSpPr>
        <p:spPr>
          <a:xfrm>
            <a:off x="311700" y="42903"/>
            <a:ext cx="8520600" cy="52968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14300" indent="0">
              <a:buNone/>
            </a:pPr>
            <a:r>
              <a:rPr lang="en-PH" sz="2000" b="1" dirty="0" smtClean="0">
                <a:solidFill>
                  <a:schemeClr val="bg1"/>
                </a:solidFill>
              </a:rPr>
              <a:t>Documenting the initiative</a:t>
            </a:r>
            <a:endParaRPr lang="en-PH" sz="2000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6565957"/>
              </p:ext>
            </p:extLst>
          </p:nvPr>
        </p:nvGraphicFramePr>
        <p:xfrm>
          <a:off x="1651000" y="530752"/>
          <a:ext cx="6058836" cy="4567417"/>
        </p:xfrm>
        <a:graphic>
          <a:graphicData uri="http://schemas.openxmlformats.org/drawingml/2006/table">
            <a:tbl>
              <a:tblPr/>
              <a:tblGrid>
                <a:gridCol w="6058836"/>
              </a:tblGrid>
              <a:tr h="287990"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Soho Gothic Pro"/>
                        </a:rPr>
                        <a:t>Business Case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223193"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Soho Gothic Pro"/>
                        </a:rPr>
                        <a:t>Process Information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18719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PH" sz="1000" b="0" i="1" u="none" strike="noStrike" dirty="0">
                          <a:solidFill>
                            <a:schemeClr val="tx1"/>
                          </a:solidFill>
                          <a:effectLst/>
                          <a:latin typeface="Soho Gothic Pro"/>
                        </a:rPr>
                        <a:t>Process Name</a:t>
                      </a:r>
                      <a:r>
                        <a:rPr lang="en-PH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Soho Gothic Pro"/>
                        </a:rPr>
                        <a:t>: Calculate</a:t>
                      </a:r>
                      <a:r>
                        <a:rPr lang="en-PH" sz="1000" b="0" i="1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Soho Gothic Pro"/>
                        </a:rPr>
                        <a:t> Client Security Hash</a:t>
                      </a:r>
                      <a:endParaRPr lang="en-PH" sz="1000" b="0" i="0" u="none" strike="noStrike" cap="none" baseline="0" dirty="0" smtClean="0">
                        <a:solidFill>
                          <a:schemeClr val="tx1"/>
                        </a:solidFill>
                        <a:latin typeface="Soho Gothic Pro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8719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PH" sz="1000" b="0" i="1" u="none" strike="noStrike" dirty="0">
                          <a:solidFill>
                            <a:schemeClr val="tx1"/>
                          </a:solidFill>
                          <a:effectLst/>
                          <a:latin typeface="Soho Gothic Pro"/>
                        </a:rPr>
                        <a:t>Business Unit Name</a:t>
                      </a:r>
                      <a:r>
                        <a:rPr lang="en-PH" sz="1000" b="0" i="1" u="none" strike="noStrike" smtClean="0">
                          <a:solidFill>
                            <a:schemeClr val="tx1"/>
                          </a:solidFill>
                          <a:effectLst/>
                          <a:latin typeface="Soho Gothic Pro"/>
                        </a:rPr>
                        <a:t>: Security</a:t>
                      </a:r>
                      <a:endParaRPr lang="en-PH" sz="1000" b="0" i="1" u="none" strike="noStrike" dirty="0">
                        <a:solidFill>
                          <a:schemeClr val="tx1"/>
                        </a:solidFill>
                        <a:effectLst/>
                        <a:latin typeface="Soho Gothic Pro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87194">
                <a:tc>
                  <a:txBody>
                    <a:bodyPr/>
                    <a:lstStyle/>
                    <a:p>
                      <a:pPr algn="l" fontAlgn="b"/>
                      <a:r>
                        <a:rPr lang="en-PH" sz="1000" b="0" i="1" u="none" strike="noStrike" dirty="0">
                          <a:solidFill>
                            <a:schemeClr val="tx1"/>
                          </a:solidFill>
                          <a:effectLst/>
                          <a:latin typeface="Soho Gothic Pro"/>
                        </a:rPr>
                        <a:t>Savings</a:t>
                      </a:r>
                      <a:r>
                        <a:rPr lang="en-PH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Soho Gothic Pro"/>
                        </a:rPr>
                        <a:t>: &lt;Insert info here&gt;</a:t>
                      </a:r>
                      <a:endParaRPr lang="en-PH" sz="1000" b="0" i="1" u="none" strike="noStrike" dirty="0">
                        <a:solidFill>
                          <a:schemeClr val="tx1"/>
                        </a:solidFill>
                        <a:effectLst/>
                        <a:latin typeface="Soho Gothic Pro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87194">
                <a:tc>
                  <a:txBody>
                    <a:bodyPr/>
                    <a:lstStyle/>
                    <a:p>
                      <a:pPr algn="l" fontAlgn="b"/>
                      <a:r>
                        <a:rPr lang="en-PH" sz="1000" b="0" i="1" u="none" strike="noStrike" dirty="0">
                          <a:solidFill>
                            <a:schemeClr val="tx1"/>
                          </a:solidFill>
                          <a:effectLst/>
                          <a:latin typeface="Soho Gothic Pro"/>
                        </a:rPr>
                        <a:t>Economic Impact</a:t>
                      </a:r>
                      <a:r>
                        <a:rPr lang="en-PH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Soho Gothic Pro"/>
                        </a:rPr>
                        <a:t>: &lt;Insert info here&gt;</a:t>
                      </a:r>
                      <a:endParaRPr lang="en-PH" sz="1000" b="0" i="1" u="none" strike="noStrike" dirty="0">
                        <a:solidFill>
                          <a:schemeClr val="tx1"/>
                        </a:solidFill>
                        <a:effectLst/>
                        <a:latin typeface="Soho Gothic Pro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87194">
                <a:tc>
                  <a:txBody>
                    <a:bodyPr/>
                    <a:lstStyle/>
                    <a:p>
                      <a:pPr algn="l" fontAlgn="b"/>
                      <a:r>
                        <a:rPr lang="en-PH" sz="1000" b="0" i="1" u="none" strike="noStrike" dirty="0">
                          <a:solidFill>
                            <a:schemeClr val="tx1"/>
                          </a:solidFill>
                          <a:effectLst/>
                          <a:latin typeface="Soho Gothic Pro"/>
                        </a:rPr>
                        <a:t>Investment Cost</a:t>
                      </a:r>
                      <a:r>
                        <a:rPr lang="en-PH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Soho Gothic Pro"/>
                        </a:rPr>
                        <a:t>: &lt;Insert info here&gt;</a:t>
                      </a:r>
                      <a:endParaRPr lang="en-PH" sz="1000" b="0" i="1" u="none" strike="noStrike" dirty="0">
                        <a:solidFill>
                          <a:schemeClr val="tx1"/>
                        </a:solidFill>
                        <a:effectLst/>
                        <a:latin typeface="Soho Gothic Pro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87194">
                <a:tc>
                  <a:txBody>
                    <a:bodyPr/>
                    <a:lstStyle/>
                    <a:p>
                      <a:pPr algn="l" fontAlgn="b"/>
                      <a:r>
                        <a:rPr lang="en-PH" sz="1000" b="0" i="1" u="none" strike="noStrike" dirty="0">
                          <a:solidFill>
                            <a:schemeClr val="tx1"/>
                          </a:solidFill>
                          <a:effectLst/>
                          <a:latin typeface="Soho Gothic Pro"/>
                        </a:rPr>
                        <a:t>Operational Cost</a:t>
                      </a:r>
                      <a:r>
                        <a:rPr lang="en-PH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Soho Gothic Pro"/>
                        </a:rPr>
                        <a:t>: &lt;Insert info here&gt;</a:t>
                      </a:r>
                      <a:endParaRPr lang="en-PH" sz="1000" b="0" i="1" u="none" strike="noStrike" dirty="0">
                        <a:solidFill>
                          <a:schemeClr val="tx1"/>
                        </a:solidFill>
                        <a:effectLst/>
                        <a:latin typeface="Soho Gothic Pro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87194">
                <a:tc>
                  <a:txBody>
                    <a:bodyPr/>
                    <a:lstStyle/>
                    <a:p>
                      <a:pPr algn="l" fontAlgn="b"/>
                      <a:r>
                        <a:rPr lang="en-PH" sz="1000" b="0" i="1" u="none" strike="noStrike" smtClean="0">
                          <a:solidFill>
                            <a:schemeClr val="tx1"/>
                          </a:solidFill>
                          <a:effectLst/>
                          <a:latin typeface="Soho Gothic Pro"/>
                        </a:rPr>
                        <a:t>Complexity Level:</a:t>
                      </a:r>
                      <a:r>
                        <a:rPr lang="en-PH" sz="1000" b="0" i="1" u="none" strike="noStrike" baseline="0" smtClean="0">
                          <a:solidFill>
                            <a:schemeClr val="tx1"/>
                          </a:solidFill>
                          <a:effectLst/>
                          <a:latin typeface="Soho Gothic Pro"/>
                        </a:rPr>
                        <a:t> &lt;Insert info here&gt;</a:t>
                      </a:r>
                      <a:endParaRPr lang="en-PH" sz="1000" b="0" i="1" u="none" strike="noStrike" dirty="0">
                        <a:solidFill>
                          <a:schemeClr val="tx1"/>
                        </a:solidFill>
                        <a:effectLst/>
                        <a:latin typeface="Soho Gothic Pro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87194">
                <a:tc>
                  <a:txBody>
                    <a:bodyPr/>
                    <a:lstStyle/>
                    <a:p>
                      <a:pPr algn="l" fontAlgn="b"/>
                      <a:r>
                        <a:rPr lang="en-PH" sz="1000" b="0" i="1" u="none" strike="noStrike" dirty="0">
                          <a:solidFill>
                            <a:schemeClr val="tx1"/>
                          </a:solidFill>
                          <a:effectLst/>
                          <a:latin typeface="Soho Gothic Pro"/>
                        </a:rPr>
                        <a:t>Return on Investment</a:t>
                      </a:r>
                      <a:r>
                        <a:rPr lang="en-PH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Soho Gothic Pro"/>
                        </a:rPr>
                        <a:t>: &lt;Insert info here&gt;</a:t>
                      </a:r>
                      <a:endParaRPr lang="en-PH" sz="1000" b="0" i="1" u="none" strike="noStrike" dirty="0">
                        <a:solidFill>
                          <a:schemeClr val="tx1"/>
                        </a:solidFill>
                        <a:effectLst/>
                        <a:latin typeface="Soho Gothic Pro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23193"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Soho Gothic Pro"/>
                        </a:rPr>
                        <a:t>Business Objective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179994">
                <a:tc>
                  <a:txBody>
                    <a:bodyPr/>
                    <a:lstStyle/>
                    <a:p>
                      <a:r>
                        <a:rPr lang="en-PH" sz="1000" b="0" i="1" u="none" strike="noStrike" cap="none" baseline="0" dirty="0" smtClean="0">
                          <a:solidFill>
                            <a:schemeClr val="tx1"/>
                          </a:solidFill>
                          <a:latin typeface="Soho Gothic Pro"/>
                          <a:ea typeface="+mn-ea"/>
                          <a:cs typeface="+mn-cs"/>
                          <a:sym typeface="Arial"/>
                        </a:rPr>
                        <a:t>➢ Deliver faster processing </a:t>
                      </a:r>
                    </a:p>
                    <a:p>
                      <a:r>
                        <a:rPr lang="en-PH" sz="1000" b="0" i="1" u="none" strike="noStrike" cap="none" baseline="0" dirty="0" smtClean="0">
                          <a:solidFill>
                            <a:schemeClr val="tx1"/>
                          </a:solidFill>
                          <a:latin typeface="Soho Gothic Pro"/>
                          <a:ea typeface="+mn-ea"/>
                          <a:cs typeface="+mn-cs"/>
                          <a:sym typeface="Arial"/>
                        </a:rPr>
                        <a:t>➢ Reduce redundant activities </a:t>
                      </a:r>
                    </a:p>
                    <a:p>
                      <a:r>
                        <a:rPr lang="en-US" sz="1000" b="0" i="1" u="none" strike="noStrike" cap="none" baseline="0" dirty="0" smtClean="0">
                          <a:solidFill>
                            <a:schemeClr val="tx1"/>
                          </a:solidFill>
                          <a:latin typeface="Soho Gothic Pro"/>
                          <a:ea typeface="+mn-ea"/>
                          <a:cs typeface="+mn-cs"/>
                          <a:sym typeface="Arial"/>
                        </a:rPr>
                        <a:t>➢ Improve overall performance and reliability </a:t>
                      </a:r>
                      <a:r>
                        <a:rPr lang="en-PH" sz="1000" b="1" i="0" u="none" strike="noStrike" dirty="0">
                          <a:solidFill>
                            <a:srgbClr val="004254"/>
                          </a:solidFill>
                          <a:effectLst/>
                          <a:latin typeface="Soho Gothic Pro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23193"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Soho Gothic Pro"/>
                        </a:rPr>
                        <a:t>Signature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187194">
                <a:tc>
                  <a:txBody>
                    <a:bodyPr/>
                    <a:lstStyle/>
                    <a:p>
                      <a:pPr algn="ctr" fontAlgn="b"/>
                      <a:r>
                        <a:rPr lang="en-PH" sz="1000" b="1" i="0" u="none" strike="noStrike" dirty="0">
                          <a:solidFill>
                            <a:srgbClr val="004254"/>
                          </a:solidFill>
                          <a:effectLst/>
                          <a:latin typeface="Soho Gothic Pro"/>
                        </a:rPr>
                        <a:t>Approver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502543">
                <a:tc>
                  <a:txBody>
                    <a:bodyPr/>
                    <a:lstStyle/>
                    <a:p>
                      <a:pPr algn="ctr" fontAlgn="b"/>
                      <a:r>
                        <a:rPr lang="en-PH" sz="1000" b="0" i="0" u="none" strike="noStrike" dirty="0">
                          <a:effectLst/>
                          <a:latin typeface="Soho Gothic Pro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87194">
                <a:tc>
                  <a:txBody>
                    <a:bodyPr/>
                    <a:lstStyle/>
                    <a:p>
                      <a:pPr algn="ctr" fontAlgn="b"/>
                      <a:r>
                        <a:rPr lang="en-PH" sz="1000" b="1" i="0" u="none" strike="noStrike" dirty="0">
                          <a:effectLst/>
                          <a:latin typeface="Soho Gothic Pro"/>
                        </a:rPr>
                        <a:t>Financial Board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23193"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Soho Gothic Pro"/>
                        </a:rPr>
                        <a:t>Date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179994"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000" b="0" i="1" u="none" strike="noStrike" dirty="0">
                          <a:solidFill>
                            <a:srgbClr val="004254"/>
                          </a:solidFill>
                          <a:effectLst/>
                          <a:latin typeface="Soho Gothic Pro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23193"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Soho Gothic Pro"/>
                        </a:rPr>
                        <a:t>Comment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145435">
                <a:tc>
                  <a:txBody>
                    <a:bodyPr/>
                    <a:lstStyle/>
                    <a:p>
                      <a:pPr algn="l" fontAlgn="t"/>
                      <a:r>
                        <a:rPr lang="en-PH" sz="800" b="0" i="0" u="none" strike="noStrike" dirty="0">
                          <a:effectLst/>
                          <a:latin typeface="Soho Gothic Pro"/>
                        </a:rPr>
                        <a:t> 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79423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70506" y="249569"/>
            <a:ext cx="1374775" cy="469900"/>
          </a:xfrm>
          <a:prstGeom prst="rect">
            <a:avLst/>
          </a:prstGeom>
          <a:noFill/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accent3">
                    <a:lumMod val="40000"/>
                    <a:lumOff val="60000"/>
                  </a:schemeClr>
                </a:solidFill>
              </a:rPr>
              <a:t>IDEATION</a:t>
            </a:r>
            <a:endParaRPr lang="en-US" b="1" dirty="0">
              <a:solidFill>
                <a:schemeClr val="accent3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1559870" y="249569"/>
            <a:ext cx="1374775" cy="46990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accent2"/>
                </a:solidFill>
              </a:rPr>
              <a:t>DISCOVERY</a:t>
            </a:r>
            <a:endParaRPr lang="en-US" b="1" dirty="0">
              <a:solidFill>
                <a:schemeClr val="accent2"/>
              </a:solidFill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70506" y="719469"/>
            <a:ext cx="1374775" cy="4076700"/>
          </a:xfrm>
          <a:prstGeom prst="rect">
            <a:avLst/>
          </a:prstGeom>
          <a:noFill/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accent3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1559870" y="719469"/>
            <a:ext cx="1374775" cy="407670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3038844" y="249569"/>
            <a:ext cx="2819031" cy="469900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accent6"/>
                </a:solidFill>
              </a:rPr>
              <a:t>SOLUTIONING</a:t>
            </a:r>
            <a:endParaRPr lang="en-US" b="1" dirty="0">
              <a:solidFill>
                <a:schemeClr val="accent6"/>
              </a:solidFill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3038843" y="719469"/>
            <a:ext cx="2826059" cy="4076700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accent6"/>
              </a:solidFill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6051345" y="249569"/>
            <a:ext cx="1422400" cy="4699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 smtClean="0">
                <a:solidFill>
                  <a:schemeClr val="accent1"/>
                </a:solidFill>
              </a:rPr>
              <a:t>IMPLEMENTATION</a:t>
            </a:r>
            <a:endParaRPr lang="en-US" sz="1050" b="1" dirty="0">
              <a:solidFill>
                <a:schemeClr val="accent1"/>
              </a:solidFill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6051345" y="719469"/>
            <a:ext cx="1422400" cy="40767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7635958" y="719469"/>
            <a:ext cx="1422400" cy="4076700"/>
          </a:xfrm>
          <a:prstGeom prst="rect">
            <a:avLst/>
          </a:prstGeom>
          <a:noFill/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161179" y="1183330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3">
                    <a:lumMod val="40000"/>
                    <a:lumOff val="60000"/>
                  </a:schemeClr>
                </a:solidFill>
              </a:rPr>
              <a:t>TRANSITION TO AUTOMATION</a:t>
            </a:r>
            <a:endParaRPr lang="en-US" sz="1000" b="1" dirty="0">
              <a:solidFill>
                <a:schemeClr val="accent3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161178" y="1907147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3">
                    <a:lumMod val="40000"/>
                    <a:lumOff val="60000"/>
                  </a:schemeClr>
                </a:solidFill>
              </a:rPr>
              <a:t>PROCESS SELECTION</a:t>
            </a:r>
            <a:endParaRPr lang="en-US" sz="1000" b="1" dirty="0">
              <a:solidFill>
                <a:schemeClr val="accent3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167786" y="2629158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50" b="1" dirty="0" smtClean="0">
                <a:solidFill>
                  <a:schemeClr val="accent3">
                    <a:lumMod val="40000"/>
                    <a:lumOff val="60000"/>
                  </a:schemeClr>
                </a:solidFill>
              </a:rPr>
              <a:t>CREATE INITIAL BUSINESS CASE</a:t>
            </a:r>
            <a:endParaRPr lang="en-US" sz="950" b="1" dirty="0">
              <a:solidFill>
                <a:schemeClr val="accent3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4" name="Diamond 3"/>
          <p:cNvSpPr/>
          <p:nvPr/>
        </p:nvSpPr>
        <p:spPr>
          <a:xfrm>
            <a:off x="327422" y="3338765"/>
            <a:ext cx="847724" cy="637954"/>
          </a:xfrm>
          <a:prstGeom prst="diamond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6" name="Straight Arrow Connector 5"/>
          <p:cNvCxnSpPr>
            <a:stCxn id="80" idx="2"/>
            <a:endCxn id="81" idx="0"/>
          </p:cNvCxnSpPr>
          <p:nvPr/>
        </p:nvCxnSpPr>
        <p:spPr>
          <a:xfrm flipH="1">
            <a:off x="751285" y="1714958"/>
            <a:ext cx="1" cy="192189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>
            <a:stCxn id="81" idx="2"/>
            <a:endCxn id="82" idx="0"/>
          </p:cNvCxnSpPr>
          <p:nvPr/>
        </p:nvCxnSpPr>
        <p:spPr>
          <a:xfrm>
            <a:off x="751285" y="2438775"/>
            <a:ext cx="6608" cy="190383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>
            <a:stCxn id="82" idx="2"/>
            <a:endCxn id="4" idx="0"/>
          </p:cNvCxnSpPr>
          <p:nvPr/>
        </p:nvCxnSpPr>
        <p:spPr>
          <a:xfrm flipH="1">
            <a:off x="751284" y="3160786"/>
            <a:ext cx="6609" cy="177979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1871010" y="4223132"/>
            <a:ext cx="76166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dirty="0" smtClean="0">
                <a:solidFill>
                  <a:schemeClr val="accent2"/>
                </a:solidFill>
              </a:rPr>
              <a:t>Approved?</a:t>
            </a:r>
            <a:endParaRPr lang="en-US" sz="800" b="1" dirty="0">
              <a:solidFill>
                <a:schemeClr val="accent2"/>
              </a:solidFill>
            </a:endParaRPr>
          </a:p>
        </p:txBody>
      </p:sp>
      <p:sp>
        <p:nvSpPr>
          <p:cNvPr id="19" name="Oval 18"/>
          <p:cNvSpPr/>
          <p:nvPr/>
        </p:nvSpPr>
        <p:spPr>
          <a:xfrm>
            <a:off x="597114" y="4176598"/>
            <a:ext cx="308344" cy="319862"/>
          </a:xfrm>
          <a:prstGeom prst="ellipse">
            <a:avLst/>
          </a:pr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5" name="Straight Arrow Connector 84"/>
          <p:cNvCxnSpPr>
            <a:stCxn id="4" idx="2"/>
            <a:endCxn id="19" idx="0"/>
          </p:cNvCxnSpPr>
          <p:nvPr/>
        </p:nvCxnSpPr>
        <p:spPr>
          <a:xfrm>
            <a:off x="751284" y="3976719"/>
            <a:ext cx="2" cy="199879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Box 87"/>
          <p:cNvSpPr txBox="1"/>
          <p:nvPr/>
        </p:nvSpPr>
        <p:spPr>
          <a:xfrm>
            <a:off x="332792" y="3932279"/>
            <a:ext cx="34546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smtClean="0">
                <a:solidFill>
                  <a:schemeClr val="accent3">
                    <a:lumMod val="40000"/>
                    <a:lumOff val="60000"/>
                  </a:schemeClr>
                </a:solidFill>
              </a:rPr>
              <a:t>NO</a:t>
            </a:r>
            <a:endParaRPr lang="en-US" sz="800" b="1" dirty="0">
              <a:solidFill>
                <a:schemeClr val="accent3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89" name="Rectangle 88"/>
          <p:cNvSpPr/>
          <p:nvPr/>
        </p:nvSpPr>
        <p:spPr>
          <a:xfrm>
            <a:off x="1657150" y="923555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2"/>
                </a:solidFill>
              </a:rPr>
              <a:t>DEMAND MANAGEMENT</a:t>
            </a:r>
          </a:p>
          <a:p>
            <a:pPr algn="ctr"/>
            <a:r>
              <a:rPr lang="en-US" sz="1000" b="1" dirty="0" smtClean="0">
                <a:solidFill>
                  <a:schemeClr val="accent2"/>
                </a:solidFill>
              </a:rPr>
              <a:t>(PROCESS)</a:t>
            </a:r>
            <a:endParaRPr lang="en-US" sz="1000" b="1" dirty="0">
              <a:solidFill>
                <a:schemeClr val="accent2"/>
              </a:solidFill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1666406" y="1712500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2"/>
                </a:solidFill>
              </a:rPr>
              <a:t>CAPACITY MANAGEMENT (PEOPLE)</a:t>
            </a:r>
            <a:endParaRPr lang="en-US" sz="1000" b="1" dirty="0">
              <a:solidFill>
                <a:schemeClr val="accent2"/>
              </a:solidFill>
            </a:endParaRPr>
          </a:p>
        </p:txBody>
      </p:sp>
      <p:sp>
        <p:nvSpPr>
          <p:cNvPr id="108" name="Rectangle 107"/>
          <p:cNvSpPr/>
          <p:nvPr/>
        </p:nvSpPr>
        <p:spPr>
          <a:xfrm>
            <a:off x="1666406" y="2492005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2"/>
                </a:solidFill>
              </a:rPr>
              <a:t>CREATION OF PDD</a:t>
            </a:r>
            <a:endParaRPr lang="en-US" sz="1000" b="1" dirty="0">
              <a:solidFill>
                <a:schemeClr val="accent2"/>
              </a:solidFill>
            </a:endParaRPr>
          </a:p>
        </p:txBody>
      </p:sp>
      <p:sp>
        <p:nvSpPr>
          <p:cNvPr id="109" name="Rectangle 108"/>
          <p:cNvSpPr/>
          <p:nvPr/>
        </p:nvSpPr>
        <p:spPr>
          <a:xfrm>
            <a:off x="1666406" y="3237159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2"/>
                </a:solidFill>
              </a:rPr>
              <a:t>UPDATING OF  BUSINESS CASE</a:t>
            </a:r>
            <a:endParaRPr lang="en-US" sz="1000" b="1" dirty="0">
              <a:solidFill>
                <a:schemeClr val="accent2"/>
              </a:solidFill>
            </a:endParaRPr>
          </a:p>
        </p:txBody>
      </p:sp>
      <p:sp>
        <p:nvSpPr>
          <p:cNvPr id="111" name="Diamond 110"/>
          <p:cNvSpPr/>
          <p:nvPr/>
        </p:nvSpPr>
        <p:spPr>
          <a:xfrm>
            <a:off x="1832650" y="4017552"/>
            <a:ext cx="847724" cy="637954"/>
          </a:xfrm>
          <a:prstGeom prst="diamond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12" name="Straight Arrow Connector 111"/>
          <p:cNvCxnSpPr>
            <a:stCxn id="111" idx="1"/>
            <a:endCxn id="19" idx="6"/>
          </p:cNvCxnSpPr>
          <p:nvPr/>
        </p:nvCxnSpPr>
        <p:spPr>
          <a:xfrm flipH="1">
            <a:off x="905458" y="4336529"/>
            <a:ext cx="927192" cy="0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TextBox 112"/>
          <p:cNvSpPr txBox="1"/>
          <p:nvPr/>
        </p:nvSpPr>
        <p:spPr>
          <a:xfrm>
            <a:off x="2630739" y="4120342"/>
            <a:ext cx="4158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smtClean="0">
                <a:solidFill>
                  <a:schemeClr val="accent2"/>
                </a:solidFill>
              </a:rPr>
              <a:t>YES</a:t>
            </a:r>
            <a:endParaRPr lang="en-US" sz="800" b="1" dirty="0">
              <a:solidFill>
                <a:schemeClr val="accent2"/>
              </a:solidFill>
            </a:endParaRPr>
          </a:p>
        </p:txBody>
      </p:sp>
      <p:cxnSp>
        <p:nvCxnSpPr>
          <p:cNvPr id="117" name="Straight Arrow Connector 116"/>
          <p:cNvCxnSpPr>
            <a:stCxn id="109" idx="2"/>
            <a:endCxn id="111" idx="0"/>
          </p:cNvCxnSpPr>
          <p:nvPr/>
        </p:nvCxnSpPr>
        <p:spPr>
          <a:xfrm flipH="1">
            <a:off x="2256512" y="3768787"/>
            <a:ext cx="1" cy="248765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Arrow Connector 119"/>
          <p:cNvCxnSpPr>
            <a:stCxn id="108" idx="2"/>
            <a:endCxn id="109" idx="0"/>
          </p:cNvCxnSpPr>
          <p:nvPr/>
        </p:nvCxnSpPr>
        <p:spPr>
          <a:xfrm>
            <a:off x="2256513" y="3023633"/>
            <a:ext cx="0" cy="213526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Arrow Connector 122"/>
          <p:cNvCxnSpPr>
            <a:stCxn id="107" idx="2"/>
            <a:endCxn id="108" idx="0"/>
          </p:cNvCxnSpPr>
          <p:nvPr/>
        </p:nvCxnSpPr>
        <p:spPr>
          <a:xfrm>
            <a:off x="2256513" y="2244128"/>
            <a:ext cx="0" cy="247877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Arrow Connector 125"/>
          <p:cNvCxnSpPr>
            <a:stCxn id="89" idx="2"/>
            <a:endCxn id="107" idx="0"/>
          </p:cNvCxnSpPr>
          <p:nvPr/>
        </p:nvCxnSpPr>
        <p:spPr>
          <a:xfrm>
            <a:off x="2247257" y="1455183"/>
            <a:ext cx="9256" cy="257317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TextBox 128"/>
          <p:cNvSpPr txBox="1"/>
          <p:nvPr/>
        </p:nvSpPr>
        <p:spPr>
          <a:xfrm>
            <a:off x="428467" y="3544269"/>
            <a:ext cx="76936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smtClean="0">
                <a:solidFill>
                  <a:schemeClr val="accent3">
                    <a:lumMod val="40000"/>
                    <a:lumOff val="60000"/>
                  </a:schemeClr>
                </a:solidFill>
              </a:rPr>
              <a:t>Approved?</a:t>
            </a:r>
            <a:endParaRPr lang="en-US" sz="800" b="1" dirty="0">
              <a:solidFill>
                <a:schemeClr val="accent3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30" name="TextBox 129"/>
          <p:cNvSpPr txBox="1"/>
          <p:nvPr/>
        </p:nvSpPr>
        <p:spPr>
          <a:xfrm>
            <a:off x="1539757" y="4120342"/>
            <a:ext cx="34546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smtClean="0">
                <a:solidFill>
                  <a:schemeClr val="accent2"/>
                </a:solidFill>
              </a:rPr>
              <a:t>NO</a:t>
            </a:r>
            <a:endParaRPr lang="en-US" sz="800" b="1" dirty="0">
              <a:solidFill>
                <a:schemeClr val="accent2"/>
              </a:solidFill>
            </a:endParaRPr>
          </a:p>
        </p:txBody>
      </p:sp>
      <p:sp>
        <p:nvSpPr>
          <p:cNvPr id="132" name="Rectangle 131"/>
          <p:cNvSpPr/>
          <p:nvPr/>
        </p:nvSpPr>
        <p:spPr>
          <a:xfrm>
            <a:off x="3159937" y="923555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solidFill>
                  <a:schemeClr val="accent6"/>
                </a:solidFill>
              </a:rPr>
              <a:t>DEMAND MANAGEMENT (DEVELOPMENT)</a:t>
            </a:r>
            <a:endParaRPr lang="en-US" sz="900" b="1" dirty="0">
              <a:solidFill>
                <a:schemeClr val="accent6"/>
              </a:solidFill>
            </a:endParaRPr>
          </a:p>
        </p:txBody>
      </p:sp>
      <p:cxnSp>
        <p:nvCxnSpPr>
          <p:cNvPr id="96" name="Elbow Connector 95"/>
          <p:cNvCxnSpPr>
            <a:stCxn id="111" idx="3"/>
            <a:endCxn id="132" idx="1"/>
          </p:cNvCxnSpPr>
          <p:nvPr/>
        </p:nvCxnSpPr>
        <p:spPr>
          <a:xfrm flipV="1">
            <a:off x="2680374" y="1189369"/>
            <a:ext cx="479563" cy="3147160"/>
          </a:xfrm>
          <a:prstGeom prst="bentConnector3">
            <a:avLst>
              <a:gd name="adj1" fmla="val 63241"/>
            </a:avLst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Elbow Connector 100"/>
          <p:cNvCxnSpPr>
            <a:stCxn id="129" idx="3"/>
            <a:endCxn id="89" idx="1"/>
          </p:cNvCxnSpPr>
          <p:nvPr/>
        </p:nvCxnSpPr>
        <p:spPr>
          <a:xfrm flipV="1">
            <a:off x="1197832" y="1189369"/>
            <a:ext cx="459318" cy="2462622"/>
          </a:xfrm>
          <a:prstGeom prst="bentConnector3">
            <a:avLst>
              <a:gd name="adj1" fmla="val 63825"/>
            </a:avLst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tangle 152"/>
          <p:cNvSpPr/>
          <p:nvPr/>
        </p:nvSpPr>
        <p:spPr>
          <a:xfrm>
            <a:off x="3131543" y="1720109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50" b="1" dirty="0" smtClean="0">
                <a:solidFill>
                  <a:schemeClr val="accent6"/>
                </a:solidFill>
              </a:rPr>
              <a:t>DEFINE PROCESS REQUIREMENTS</a:t>
            </a:r>
            <a:endParaRPr lang="en-US" sz="950" b="1" dirty="0">
              <a:solidFill>
                <a:schemeClr val="accent6"/>
              </a:solidFill>
            </a:endParaRPr>
          </a:p>
        </p:txBody>
      </p:sp>
      <p:sp>
        <p:nvSpPr>
          <p:cNvPr id="154" name="Rectangle 153"/>
          <p:cNvSpPr/>
          <p:nvPr/>
        </p:nvSpPr>
        <p:spPr>
          <a:xfrm>
            <a:off x="3131542" y="2455823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6"/>
                </a:solidFill>
              </a:rPr>
              <a:t>CAPACITY MANAGEMENT (SYSTEM)</a:t>
            </a:r>
            <a:endParaRPr lang="en-US" sz="1000" b="1" dirty="0">
              <a:solidFill>
                <a:schemeClr val="accent6"/>
              </a:solidFill>
            </a:endParaRPr>
          </a:p>
        </p:txBody>
      </p:sp>
      <p:sp>
        <p:nvSpPr>
          <p:cNvPr id="155" name="Rectangle 154"/>
          <p:cNvSpPr/>
          <p:nvPr/>
        </p:nvSpPr>
        <p:spPr>
          <a:xfrm>
            <a:off x="4606731" y="1663018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6"/>
                </a:solidFill>
              </a:rPr>
              <a:t>AGILE LIFECYCLE (DEV, TEST)</a:t>
            </a:r>
            <a:endParaRPr lang="en-US" sz="1000" b="1" dirty="0">
              <a:solidFill>
                <a:schemeClr val="accent6"/>
              </a:solidFill>
            </a:endParaRPr>
          </a:p>
        </p:txBody>
      </p:sp>
      <p:sp>
        <p:nvSpPr>
          <p:cNvPr id="156" name="Rectangle 155"/>
          <p:cNvSpPr/>
          <p:nvPr/>
        </p:nvSpPr>
        <p:spPr>
          <a:xfrm>
            <a:off x="4607709" y="2393330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6"/>
                </a:solidFill>
              </a:rPr>
              <a:t>UAT</a:t>
            </a:r>
            <a:endParaRPr lang="en-US" sz="1000" b="1" dirty="0">
              <a:solidFill>
                <a:schemeClr val="accent6"/>
              </a:solidFill>
            </a:endParaRPr>
          </a:p>
        </p:txBody>
      </p:sp>
      <p:cxnSp>
        <p:nvCxnSpPr>
          <p:cNvPr id="157" name="Straight Arrow Connector 156"/>
          <p:cNvCxnSpPr/>
          <p:nvPr/>
        </p:nvCxnSpPr>
        <p:spPr>
          <a:xfrm>
            <a:off x="3720888" y="1462792"/>
            <a:ext cx="9256" cy="257317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Arrow Connector 157"/>
          <p:cNvCxnSpPr>
            <a:stCxn id="153" idx="2"/>
            <a:endCxn id="154" idx="0"/>
          </p:cNvCxnSpPr>
          <p:nvPr/>
        </p:nvCxnSpPr>
        <p:spPr>
          <a:xfrm flipH="1">
            <a:off x="3721649" y="2251737"/>
            <a:ext cx="1" cy="204086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Arrow Connector 163"/>
          <p:cNvCxnSpPr>
            <a:stCxn id="155" idx="2"/>
            <a:endCxn id="156" idx="0"/>
          </p:cNvCxnSpPr>
          <p:nvPr/>
        </p:nvCxnSpPr>
        <p:spPr>
          <a:xfrm>
            <a:off x="5196838" y="2194646"/>
            <a:ext cx="978" cy="198684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Rectangle 167"/>
          <p:cNvSpPr/>
          <p:nvPr/>
        </p:nvSpPr>
        <p:spPr>
          <a:xfrm>
            <a:off x="6172438" y="918378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1"/>
                </a:solidFill>
              </a:rPr>
              <a:t>ROBOT PACKAGE CREATION</a:t>
            </a:r>
            <a:endParaRPr lang="en-US" sz="1000" b="1" dirty="0">
              <a:solidFill>
                <a:schemeClr val="accent1"/>
              </a:solidFill>
            </a:endParaRPr>
          </a:p>
        </p:txBody>
      </p:sp>
      <p:sp>
        <p:nvSpPr>
          <p:cNvPr id="170" name="Rectangle 169"/>
          <p:cNvSpPr/>
          <p:nvPr/>
        </p:nvSpPr>
        <p:spPr>
          <a:xfrm>
            <a:off x="6172438" y="1711359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1"/>
                </a:solidFill>
              </a:rPr>
              <a:t>HANDOVER FOR DEPLOYMENT</a:t>
            </a:r>
            <a:endParaRPr lang="en-US" sz="1000" b="1" dirty="0">
              <a:solidFill>
                <a:schemeClr val="accent1"/>
              </a:solidFill>
            </a:endParaRPr>
          </a:p>
        </p:txBody>
      </p:sp>
      <p:sp>
        <p:nvSpPr>
          <p:cNvPr id="171" name="Rectangle 170"/>
          <p:cNvSpPr/>
          <p:nvPr/>
        </p:nvSpPr>
        <p:spPr>
          <a:xfrm>
            <a:off x="6172438" y="3382661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1"/>
                </a:solidFill>
              </a:rPr>
              <a:t>RELEASE PACKAGE TO PRODUCTION</a:t>
            </a:r>
            <a:endParaRPr lang="en-US" sz="1000" b="1" dirty="0">
              <a:solidFill>
                <a:schemeClr val="accent1"/>
              </a:solidFill>
            </a:endParaRPr>
          </a:p>
        </p:txBody>
      </p:sp>
      <p:sp>
        <p:nvSpPr>
          <p:cNvPr id="172" name="Rectangle 171"/>
          <p:cNvSpPr/>
          <p:nvPr/>
        </p:nvSpPr>
        <p:spPr>
          <a:xfrm>
            <a:off x="6172438" y="4163700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1"/>
                </a:solidFill>
              </a:rPr>
              <a:t>HYPERCARE PHASE</a:t>
            </a:r>
            <a:endParaRPr lang="en-US" sz="1000" b="1" dirty="0">
              <a:solidFill>
                <a:schemeClr val="accent1"/>
              </a:solidFill>
            </a:endParaRPr>
          </a:p>
        </p:txBody>
      </p:sp>
      <p:cxnSp>
        <p:nvCxnSpPr>
          <p:cNvPr id="173" name="Elbow Connector 172"/>
          <p:cNvCxnSpPr>
            <a:stCxn id="156" idx="3"/>
            <a:endCxn id="168" idx="1"/>
          </p:cNvCxnSpPr>
          <p:nvPr/>
        </p:nvCxnSpPr>
        <p:spPr>
          <a:xfrm flipV="1">
            <a:off x="5787922" y="1184192"/>
            <a:ext cx="384516" cy="1474952"/>
          </a:xfrm>
          <a:prstGeom prst="bentConnector3">
            <a:avLst>
              <a:gd name="adj1" fmla="val 42568"/>
            </a:avLst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Arrow Connector 178"/>
          <p:cNvCxnSpPr>
            <a:stCxn id="168" idx="2"/>
            <a:endCxn id="170" idx="0"/>
          </p:cNvCxnSpPr>
          <p:nvPr/>
        </p:nvCxnSpPr>
        <p:spPr>
          <a:xfrm>
            <a:off x="6762545" y="1450006"/>
            <a:ext cx="0" cy="261353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Arrow Connector 185"/>
          <p:cNvCxnSpPr>
            <a:stCxn id="171" idx="2"/>
            <a:endCxn id="172" idx="0"/>
          </p:cNvCxnSpPr>
          <p:nvPr/>
        </p:nvCxnSpPr>
        <p:spPr>
          <a:xfrm>
            <a:off x="6762545" y="3914289"/>
            <a:ext cx="0" cy="249411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9" name="Rectangle 188"/>
          <p:cNvSpPr/>
          <p:nvPr/>
        </p:nvSpPr>
        <p:spPr>
          <a:xfrm>
            <a:off x="7757049" y="1388278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4"/>
                </a:solidFill>
              </a:rPr>
              <a:t>FULFILL SERVICE REQUEST</a:t>
            </a:r>
            <a:endParaRPr lang="en-US" sz="1000" b="1" dirty="0">
              <a:solidFill>
                <a:schemeClr val="accent4"/>
              </a:solidFill>
            </a:endParaRPr>
          </a:p>
        </p:txBody>
      </p:sp>
      <p:sp>
        <p:nvSpPr>
          <p:cNvPr id="190" name="Rectangle 189"/>
          <p:cNvSpPr/>
          <p:nvPr/>
        </p:nvSpPr>
        <p:spPr>
          <a:xfrm>
            <a:off x="7768394" y="3871253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4">
                    <a:lumMod val="40000"/>
                    <a:lumOff val="60000"/>
                  </a:schemeClr>
                </a:solidFill>
              </a:rPr>
              <a:t>MONITOR HEARTBEAT OF ROBOTS</a:t>
            </a:r>
            <a:endParaRPr lang="en-US" sz="1000" b="1" dirty="0">
              <a:solidFill>
                <a:schemeClr val="accent4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91" name="Oval 190"/>
          <p:cNvSpPr/>
          <p:nvPr/>
        </p:nvSpPr>
        <p:spPr>
          <a:xfrm>
            <a:off x="8192984" y="864330"/>
            <a:ext cx="308344" cy="319862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2" name="Oval 191"/>
          <p:cNvSpPr/>
          <p:nvPr/>
        </p:nvSpPr>
        <p:spPr>
          <a:xfrm>
            <a:off x="596804" y="746592"/>
            <a:ext cx="308344" cy="319862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93" name="Straight Arrow Connector 192"/>
          <p:cNvCxnSpPr>
            <a:stCxn id="192" idx="4"/>
            <a:endCxn id="80" idx="0"/>
          </p:cNvCxnSpPr>
          <p:nvPr/>
        </p:nvCxnSpPr>
        <p:spPr>
          <a:xfrm>
            <a:off x="750976" y="1066454"/>
            <a:ext cx="310" cy="116876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Straight Arrow Connector 195"/>
          <p:cNvCxnSpPr>
            <a:stCxn id="191" idx="4"/>
            <a:endCxn id="189" idx="0"/>
          </p:cNvCxnSpPr>
          <p:nvPr/>
        </p:nvCxnSpPr>
        <p:spPr>
          <a:xfrm>
            <a:off x="8347156" y="1184192"/>
            <a:ext cx="0" cy="204086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" name="Rectangle 204"/>
          <p:cNvSpPr/>
          <p:nvPr/>
        </p:nvSpPr>
        <p:spPr>
          <a:xfrm>
            <a:off x="4606731" y="918378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6"/>
                </a:solidFill>
              </a:rPr>
              <a:t>CAPACITY MANAGEMENT (PEOPLE)</a:t>
            </a:r>
            <a:endParaRPr lang="en-US" sz="1000" b="1" dirty="0">
              <a:solidFill>
                <a:schemeClr val="accent6"/>
              </a:solidFill>
            </a:endParaRPr>
          </a:p>
        </p:txBody>
      </p:sp>
      <p:sp>
        <p:nvSpPr>
          <p:cNvPr id="209" name="Rectangle 208"/>
          <p:cNvSpPr/>
          <p:nvPr/>
        </p:nvSpPr>
        <p:spPr>
          <a:xfrm>
            <a:off x="3140037" y="3241334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6"/>
                </a:solidFill>
              </a:rPr>
              <a:t>REQUEST FOR ACCESSES</a:t>
            </a:r>
            <a:endParaRPr lang="en-US" sz="1000" b="1" dirty="0">
              <a:solidFill>
                <a:schemeClr val="accent6"/>
              </a:solidFill>
            </a:endParaRPr>
          </a:p>
        </p:txBody>
      </p:sp>
      <p:cxnSp>
        <p:nvCxnSpPr>
          <p:cNvPr id="210" name="Elbow Connector 209"/>
          <p:cNvCxnSpPr>
            <a:stCxn id="209" idx="3"/>
            <a:endCxn id="205" idx="1"/>
          </p:cNvCxnSpPr>
          <p:nvPr/>
        </p:nvCxnSpPr>
        <p:spPr>
          <a:xfrm flipV="1">
            <a:off x="4320250" y="1184192"/>
            <a:ext cx="286481" cy="2322956"/>
          </a:xfrm>
          <a:prstGeom prst="bentConnector3">
            <a:avLst>
              <a:gd name="adj1" fmla="val 50000"/>
            </a:avLst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tangle 213"/>
          <p:cNvSpPr/>
          <p:nvPr/>
        </p:nvSpPr>
        <p:spPr>
          <a:xfrm>
            <a:off x="3130781" y="3964832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6"/>
                </a:solidFill>
              </a:rPr>
              <a:t>REQUEST FOR INFRA</a:t>
            </a:r>
            <a:endParaRPr lang="en-US" sz="1000" b="1" dirty="0">
              <a:solidFill>
                <a:schemeClr val="accent6"/>
              </a:solidFill>
            </a:endParaRPr>
          </a:p>
        </p:txBody>
      </p:sp>
      <p:cxnSp>
        <p:nvCxnSpPr>
          <p:cNvPr id="220" name="Straight Arrow Connector 219"/>
          <p:cNvCxnSpPr>
            <a:stCxn id="154" idx="2"/>
            <a:endCxn id="209" idx="0"/>
          </p:cNvCxnSpPr>
          <p:nvPr/>
        </p:nvCxnSpPr>
        <p:spPr>
          <a:xfrm>
            <a:off x="3721649" y="2987451"/>
            <a:ext cx="8495" cy="253883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Straight Arrow Connector 222"/>
          <p:cNvCxnSpPr>
            <a:stCxn id="209" idx="2"/>
            <a:endCxn id="214" idx="0"/>
          </p:cNvCxnSpPr>
          <p:nvPr/>
        </p:nvCxnSpPr>
        <p:spPr>
          <a:xfrm flipH="1">
            <a:off x="3720888" y="3772962"/>
            <a:ext cx="9256" cy="191870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Straight Arrow Connector 255"/>
          <p:cNvCxnSpPr>
            <a:stCxn id="205" idx="2"/>
            <a:endCxn id="155" idx="0"/>
          </p:cNvCxnSpPr>
          <p:nvPr/>
        </p:nvCxnSpPr>
        <p:spPr>
          <a:xfrm>
            <a:off x="5196838" y="1450006"/>
            <a:ext cx="0" cy="213012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7" name="Elbow Connector 256"/>
          <p:cNvCxnSpPr>
            <a:endCxn id="258" idx="1"/>
          </p:cNvCxnSpPr>
          <p:nvPr/>
        </p:nvCxnSpPr>
        <p:spPr>
          <a:xfrm flipV="1">
            <a:off x="4282419" y="3024331"/>
            <a:ext cx="2274304" cy="1149166"/>
          </a:xfrm>
          <a:prstGeom prst="bentConnector3">
            <a:avLst>
              <a:gd name="adj1" fmla="val 73453"/>
            </a:avLst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4" name="Group 263"/>
          <p:cNvGrpSpPr/>
          <p:nvPr/>
        </p:nvGrpSpPr>
        <p:grpSpPr>
          <a:xfrm>
            <a:off x="6556723" y="2847856"/>
            <a:ext cx="409575" cy="352950"/>
            <a:chOff x="6544168" y="2581344"/>
            <a:chExt cx="409575" cy="352950"/>
          </a:xfrm>
        </p:grpSpPr>
        <p:sp>
          <p:nvSpPr>
            <p:cNvPr id="258" name="Diamond 257"/>
            <p:cNvSpPr/>
            <p:nvPr/>
          </p:nvSpPr>
          <p:spPr>
            <a:xfrm>
              <a:off x="6544168" y="2581344"/>
              <a:ext cx="409575" cy="352950"/>
            </a:xfrm>
            <a:prstGeom prst="diamond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1" name="TextBox 260"/>
            <p:cNvSpPr txBox="1"/>
            <p:nvPr/>
          </p:nvSpPr>
          <p:spPr>
            <a:xfrm>
              <a:off x="6604524" y="2618120"/>
              <a:ext cx="28886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solidFill>
                    <a:schemeClr val="bg1"/>
                  </a:solidFill>
                </a:rPr>
                <a:t>+</a:t>
              </a:r>
            </a:p>
          </p:txBody>
        </p:sp>
      </p:grpSp>
      <p:cxnSp>
        <p:nvCxnSpPr>
          <p:cNvPr id="268" name="Straight Arrow Connector 267"/>
          <p:cNvCxnSpPr>
            <a:stCxn id="170" idx="2"/>
            <a:endCxn id="258" idx="0"/>
          </p:cNvCxnSpPr>
          <p:nvPr/>
        </p:nvCxnSpPr>
        <p:spPr>
          <a:xfrm flipH="1">
            <a:off x="6761511" y="2242987"/>
            <a:ext cx="1034" cy="604869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3" name="Straight Arrow Connector 272"/>
          <p:cNvCxnSpPr>
            <a:stCxn id="258" idx="2"/>
            <a:endCxn id="171" idx="0"/>
          </p:cNvCxnSpPr>
          <p:nvPr/>
        </p:nvCxnSpPr>
        <p:spPr>
          <a:xfrm>
            <a:off x="6761511" y="3200806"/>
            <a:ext cx="1034" cy="181855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6" name="Oval 275"/>
          <p:cNvSpPr/>
          <p:nvPr/>
        </p:nvSpPr>
        <p:spPr>
          <a:xfrm>
            <a:off x="8205684" y="3307952"/>
            <a:ext cx="308344" cy="319862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77" name="Straight Arrow Connector 276"/>
          <p:cNvCxnSpPr>
            <a:stCxn id="276" idx="4"/>
            <a:endCxn id="190" idx="0"/>
          </p:cNvCxnSpPr>
          <p:nvPr/>
        </p:nvCxnSpPr>
        <p:spPr>
          <a:xfrm flipH="1">
            <a:off x="8358501" y="3627814"/>
            <a:ext cx="1355" cy="243439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9" name="Oval 278"/>
          <p:cNvSpPr/>
          <p:nvPr/>
        </p:nvSpPr>
        <p:spPr>
          <a:xfrm>
            <a:off x="8196430" y="2260749"/>
            <a:ext cx="308344" cy="319862"/>
          </a:xfrm>
          <a:prstGeom prst="ellipse">
            <a:avLst/>
          </a:pr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80" name="Elbow Connector 279"/>
          <p:cNvCxnSpPr>
            <a:stCxn id="172" idx="3"/>
            <a:endCxn id="279" idx="2"/>
          </p:cNvCxnSpPr>
          <p:nvPr/>
        </p:nvCxnSpPr>
        <p:spPr>
          <a:xfrm flipV="1">
            <a:off x="7352651" y="2420680"/>
            <a:ext cx="843779" cy="2008834"/>
          </a:xfrm>
          <a:prstGeom prst="bentConnector3">
            <a:avLst>
              <a:gd name="adj1" fmla="val 25165"/>
            </a:avLst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6" name="Straight Arrow Connector 285"/>
          <p:cNvCxnSpPr>
            <a:stCxn id="189" idx="2"/>
            <a:endCxn id="279" idx="0"/>
          </p:cNvCxnSpPr>
          <p:nvPr/>
        </p:nvCxnSpPr>
        <p:spPr>
          <a:xfrm>
            <a:off x="8347156" y="1919906"/>
            <a:ext cx="3446" cy="340843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Rectangle 287"/>
          <p:cNvSpPr/>
          <p:nvPr/>
        </p:nvSpPr>
        <p:spPr>
          <a:xfrm>
            <a:off x="7647303" y="258495"/>
            <a:ext cx="1422400" cy="469900"/>
          </a:xfrm>
          <a:prstGeom prst="rect">
            <a:avLst/>
          </a:prstGeom>
          <a:noFill/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accent4">
                    <a:lumMod val="40000"/>
                    <a:lumOff val="60000"/>
                  </a:schemeClr>
                </a:solidFill>
              </a:rPr>
              <a:t>OPERATION</a:t>
            </a:r>
            <a:endParaRPr lang="en-US" b="1" dirty="0">
              <a:solidFill>
                <a:schemeClr val="accent4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290" name="Rectangle 289"/>
          <p:cNvSpPr/>
          <p:nvPr/>
        </p:nvSpPr>
        <p:spPr>
          <a:xfrm>
            <a:off x="7768394" y="1397204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4">
                    <a:lumMod val="40000"/>
                    <a:lumOff val="60000"/>
                  </a:schemeClr>
                </a:solidFill>
              </a:rPr>
              <a:t>FULFILL SERVICE REQUEST</a:t>
            </a:r>
            <a:endParaRPr lang="en-US" sz="1000" b="1" dirty="0">
              <a:solidFill>
                <a:schemeClr val="accent4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291" name="TextBox 290"/>
          <p:cNvSpPr txBox="1"/>
          <p:nvPr/>
        </p:nvSpPr>
        <p:spPr>
          <a:xfrm>
            <a:off x="1089339" y="3426841"/>
            <a:ext cx="43708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smtClean="0">
                <a:solidFill>
                  <a:schemeClr val="accent3">
                    <a:lumMod val="40000"/>
                    <a:lumOff val="60000"/>
                  </a:schemeClr>
                </a:solidFill>
              </a:rPr>
              <a:t>YES</a:t>
            </a:r>
            <a:endParaRPr lang="en-US" sz="800" b="1" dirty="0">
              <a:solidFill>
                <a:schemeClr val="accent3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1119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Google Shape;227;p28"/>
          <p:cNvSpPr/>
          <p:nvPr/>
        </p:nvSpPr>
        <p:spPr>
          <a:xfrm>
            <a:off x="1068936" y="0"/>
            <a:ext cx="608782" cy="5143500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28" name="Google Shape;228;p28"/>
          <p:cNvGrpSpPr/>
          <p:nvPr/>
        </p:nvGrpSpPr>
        <p:grpSpPr>
          <a:xfrm>
            <a:off x="1" y="606173"/>
            <a:ext cx="5527496" cy="862441"/>
            <a:chOff x="1" y="707962"/>
            <a:chExt cx="7970291" cy="1630907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229" name="Google Shape;229;p28"/>
            <p:cNvSpPr/>
            <p:nvPr/>
          </p:nvSpPr>
          <p:spPr>
            <a:xfrm>
              <a:off x="2430999" y="1189024"/>
              <a:ext cx="5539293" cy="1149845"/>
            </a:xfrm>
            <a:prstGeom prst="homePlate">
              <a:avLst>
                <a:gd name="adj" fmla="val 50000"/>
              </a:avLst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296466"/>
              <a:r>
                <a:rPr lang="en-US" sz="1350" b="1" dirty="0" smtClean="0">
                  <a:solidFill>
                    <a:srgbClr val="FFFFFF"/>
                  </a:solidFill>
                </a:rPr>
                <a:t>Governance </a:t>
              </a:r>
              <a:r>
                <a:rPr lang="en-US" sz="1350" b="1" dirty="0">
                  <a:solidFill>
                    <a:srgbClr val="FFFFFF"/>
                  </a:solidFill>
                </a:rPr>
                <a:t>Model Overview</a:t>
              </a:r>
              <a:endParaRPr sz="135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0" name="Google Shape;230;p28"/>
            <p:cNvSpPr/>
            <p:nvPr/>
          </p:nvSpPr>
          <p:spPr>
            <a:xfrm>
              <a:off x="1" y="1189023"/>
              <a:ext cx="1542190" cy="1149845"/>
            </a:xfrm>
            <a:prstGeom prst="rect">
              <a:avLst/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31" name="Google Shape;231;p28"/>
            <p:cNvGrpSpPr/>
            <p:nvPr/>
          </p:nvGrpSpPr>
          <p:grpSpPr>
            <a:xfrm>
              <a:off x="1299942" y="707962"/>
              <a:ext cx="1373307" cy="1630907"/>
              <a:chOff x="1333213" y="283213"/>
              <a:chExt cx="1373307" cy="1630907"/>
            </a:xfrm>
            <a:grpFill/>
          </p:grpSpPr>
          <p:grpSp>
            <p:nvGrpSpPr>
              <p:cNvPr id="232" name="Google Shape;232;p28"/>
              <p:cNvGrpSpPr/>
              <p:nvPr/>
            </p:nvGrpSpPr>
            <p:grpSpPr>
              <a:xfrm>
                <a:off x="1333213" y="1647988"/>
                <a:ext cx="1373307" cy="266132"/>
                <a:chOff x="1333208" y="1624082"/>
                <a:chExt cx="1373307" cy="266132"/>
              </a:xfrm>
              <a:grpFill/>
            </p:grpSpPr>
            <p:sp>
              <p:nvSpPr>
                <p:cNvPr id="233" name="Google Shape;233;p28"/>
                <p:cNvSpPr/>
                <p:nvPr/>
              </p:nvSpPr>
              <p:spPr>
                <a:xfrm rot="10800000" flipH="1">
                  <a:off x="2464266" y="1624082"/>
                  <a:ext cx="242249" cy="266132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34" name="Google Shape;234;p28"/>
                <p:cNvSpPr/>
                <p:nvPr/>
              </p:nvSpPr>
              <p:spPr>
                <a:xfrm rot="10800000">
                  <a:off x="1333208" y="1624082"/>
                  <a:ext cx="242249" cy="266132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235" name="Google Shape;235;p28"/>
              <p:cNvSpPr/>
              <p:nvPr/>
            </p:nvSpPr>
            <p:spPr>
              <a:xfrm>
                <a:off x="1334066" y="283213"/>
                <a:ext cx="1371600" cy="137160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r>
                  <a:rPr lang="en-US" sz="4500" b="1" dirty="0">
                    <a:solidFill>
                      <a:srgbClr val="FFFFFF"/>
                    </a:solidFill>
                  </a:rPr>
                  <a:t>01</a:t>
                </a:r>
                <a:endParaRPr sz="1050" dirty="0"/>
              </a:p>
            </p:txBody>
          </p:sp>
        </p:grpSp>
      </p:grpSp>
      <p:grpSp>
        <p:nvGrpSpPr>
          <p:cNvPr id="236" name="Google Shape;236;p28"/>
          <p:cNvGrpSpPr/>
          <p:nvPr/>
        </p:nvGrpSpPr>
        <p:grpSpPr>
          <a:xfrm>
            <a:off x="1" y="1480057"/>
            <a:ext cx="5527496" cy="862441"/>
            <a:chOff x="1" y="2560623"/>
            <a:chExt cx="7970291" cy="1630907"/>
          </a:xfrm>
        </p:grpSpPr>
        <p:sp>
          <p:nvSpPr>
            <p:cNvPr id="237" name="Google Shape;237;p28"/>
            <p:cNvSpPr/>
            <p:nvPr/>
          </p:nvSpPr>
          <p:spPr>
            <a:xfrm>
              <a:off x="2430999" y="3041685"/>
              <a:ext cx="5539293" cy="1149845"/>
            </a:xfrm>
            <a:prstGeom prst="homePlate">
              <a:avLst>
                <a:gd name="adj" fmla="val 50000"/>
              </a:avLst>
            </a:prstGeom>
            <a:gradFill>
              <a:gsLst>
                <a:gs pos="0">
                  <a:srgbClr val="005E91"/>
                </a:gs>
                <a:gs pos="50000">
                  <a:srgbClr val="0089D2"/>
                </a:gs>
                <a:gs pos="100000">
                  <a:srgbClr val="00A5FC"/>
                </a:gs>
              </a:gsLst>
              <a:lin ang="0" scaled="0"/>
            </a:gradFill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296466"/>
              <a:r>
                <a:rPr lang="en-US" sz="1350" b="1" dirty="0" smtClean="0">
                  <a:solidFill>
                    <a:srgbClr val="FFFFFF"/>
                  </a:solidFill>
                </a:rPr>
                <a:t>Process Selection Overview</a:t>
              </a:r>
              <a:endParaRPr sz="135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8" name="Google Shape;238;p28"/>
            <p:cNvSpPr/>
            <p:nvPr/>
          </p:nvSpPr>
          <p:spPr>
            <a:xfrm>
              <a:off x="1" y="3041684"/>
              <a:ext cx="1542190" cy="1149845"/>
            </a:xfrm>
            <a:prstGeom prst="rect">
              <a:avLst/>
            </a:prstGeom>
            <a:gradFill>
              <a:gsLst>
                <a:gs pos="0">
                  <a:srgbClr val="005E91"/>
                </a:gs>
                <a:gs pos="50000">
                  <a:srgbClr val="0089D2"/>
                </a:gs>
                <a:gs pos="100000">
                  <a:srgbClr val="00A5FC"/>
                </a:gs>
              </a:gsLst>
              <a:lin ang="10800000" scaled="0"/>
            </a:gradFill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39" name="Google Shape;239;p28"/>
            <p:cNvGrpSpPr/>
            <p:nvPr/>
          </p:nvGrpSpPr>
          <p:grpSpPr>
            <a:xfrm>
              <a:off x="1299942" y="2560623"/>
              <a:ext cx="1373307" cy="1630907"/>
              <a:chOff x="1333213" y="283213"/>
              <a:chExt cx="1373307" cy="1630907"/>
            </a:xfrm>
          </p:grpSpPr>
          <p:grpSp>
            <p:nvGrpSpPr>
              <p:cNvPr id="240" name="Google Shape;240;p28"/>
              <p:cNvGrpSpPr/>
              <p:nvPr/>
            </p:nvGrpSpPr>
            <p:grpSpPr>
              <a:xfrm>
                <a:off x="1333213" y="1647988"/>
                <a:ext cx="1373307" cy="266132"/>
                <a:chOff x="1333208" y="1624082"/>
                <a:chExt cx="1373307" cy="266132"/>
              </a:xfrm>
            </p:grpSpPr>
            <p:sp>
              <p:nvSpPr>
                <p:cNvPr id="241" name="Google Shape;241;p28"/>
                <p:cNvSpPr/>
                <p:nvPr/>
              </p:nvSpPr>
              <p:spPr>
                <a:xfrm rot="10800000" flipH="1">
                  <a:off x="2464266" y="1624082"/>
                  <a:ext cx="242249" cy="266132"/>
                </a:xfrm>
                <a:prstGeom prst="rtTriangle">
                  <a:avLst/>
                </a:prstGeom>
                <a:solidFill>
                  <a:srgbClr val="0077B0"/>
                </a:solidFill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42" name="Google Shape;242;p28"/>
                <p:cNvSpPr/>
                <p:nvPr/>
              </p:nvSpPr>
              <p:spPr>
                <a:xfrm rot="10800000">
                  <a:off x="1333208" y="1624082"/>
                  <a:ext cx="242249" cy="266132"/>
                </a:xfrm>
                <a:prstGeom prst="rtTriangle">
                  <a:avLst/>
                </a:prstGeom>
                <a:solidFill>
                  <a:srgbClr val="0077B0"/>
                </a:solidFill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243" name="Google Shape;243;p28"/>
              <p:cNvSpPr/>
              <p:nvPr/>
            </p:nvSpPr>
            <p:spPr>
              <a:xfrm>
                <a:off x="1334066" y="283213"/>
                <a:ext cx="1371600" cy="1371600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r>
                  <a:rPr lang="en-US" sz="4500" b="1">
                    <a:solidFill>
                      <a:srgbClr val="FFFFFF"/>
                    </a:solidFill>
                  </a:rPr>
                  <a:t>02</a:t>
                </a:r>
                <a:endParaRPr sz="1050"/>
              </a:p>
            </p:txBody>
          </p:sp>
        </p:grpSp>
      </p:grpSp>
      <p:grpSp>
        <p:nvGrpSpPr>
          <p:cNvPr id="244" name="Google Shape;244;p28"/>
          <p:cNvGrpSpPr/>
          <p:nvPr/>
        </p:nvGrpSpPr>
        <p:grpSpPr>
          <a:xfrm>
            <a:off x="1" y="2353939"/>
            <a:ext cx="5527496" cy="862442"/>
            <a:chOff x="1" y="4723842"/>
            <a:chExt cx="7970291" cy="1630908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245" name="Google Shape;245;p28"/>
            <p:cNvSpPr/>
            <p:nvPr/>
          </p:nvSpPr>
          <p:spPr>
            <a:xfrm>
              <a:off x="2430145" y="5204905"/>
              <a:ext cx="5540147" cy="1149845"/>
            </a:xfrm>
            <a:prstGeom prst="homePlate">
              <a:avLst>
                <a:gd name="adj" fmla="val 50000"/>
              </a:avLst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296466"/>
              <a:r>
                <a:rPr lang="en-US" sz="1350" b="1" dirty="0" smtClean="0">
                  <a:solidFill>
                    <a:srgbClr val="FFFFFF"/>
                  </a:solidFill>
                </a:rPr>
                <a:t>Process Selection Concepts</a:t>
              </a:r>
              <a:endParaRPr sz="135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6" name="Google Shape;246;p28"/>
            <p:cNvSpPr/>
            <p:nvPr/>
          </p:nvSpPr>
          <p:spPr>
            <a:xfrm>
              <a:off x="1" y="5204904"/>
              <a:ext cx="1541336" cy="1149845"/>
            </a:xfrm>
            <a:prstGeom prst="rect">
              <a:avLst/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47" name="Google Shape;247;p28"/>
            <p:cNvGrpSpPr/>
            <p:nvPr/>
          </p:nvGrpSpPr>
          <p:grpSpPr>
            <a:xfrm>
              <a:off x="1299088" y="4723842"/>
              <a:ext cx="1373307" cy="1630907"/>
              <a:chOff x="1333213" y="283213"/>
              <a:chExt cx="1373307" cy="1630907"/>
            </a:xfrm>
            <a:grpFill/>
          </p:grpSpPr>
          <p:grpSp>
            <p:nvGrpSpPr>
              <p:cNvPr id="248" name="Google Shape;248;p28"/>
              <p:cNvGrpSpPr/>
              <p:nvPr/>
            </p:nvGrpSpPr>
            <p:grpSpPr>
              <a:xfrm>
                <a:off x="1333213" y="1647988"/>
                <a:ext cx="1373307" cy="266132"/>
                <a:chOff x="1333208" y="1624082"/>
                <a:chExt cx="1373307" cy="266132"/>
              </a:xfrm>
              <a:grpFill/>
            </p:grpSpPr>
            <p:sp>
              <p:nvSpPr>
                <p:cNvPr id="249" name="Google Shape;249;p28"/>
                <p:cNvSpPr/>
                <p:nvPr/>
              </p:nvSpPr>
              <p:spPr>
                <a:xfrm rot="10800000" flipH="1">
                  <a:off x="2464266" y="1624082"/>
                  <a:ext cx="242249" cy="266132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50" name="Google Shape;250;p28"/>
                <p:cNvSpPr/>
                <p:nvPr/>
              </p:nvSpPr>
              <p:spPr>
                <a:xfrm rot="10800000">
                  <a:off x="1333208" y="1624082"/>
                  <a:ext cx="242249" cy="266132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251" name="Google Shape;251;p28"/>
              <p:cNvSpPr/>
              <p:nvPr/>
            </p:nvSpPr>
            <p:spPr>
              <a:xfrm>
                <a:off x="1334066" y="283213"/>
                <a:ext cx="1371600" cy="137160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r>
                  <a:rPr lang="en-US" sz="4500" b="1" dirty="0">
                    <a:solidFill>
                      <a:srgbClr val="FFFFFF"/>
                    </a:solidFill>
                  </a:rPr>
                  <a:t>03</a:t>
                </a:r>
                <a:endParaRPr sz="1050" dirty="0"/>
              </a:p>
            </p:txBody>
          </p:sp>
        </p:grpSp>
      </p:grpSp>
      <p:sp>
        <p:nvSpPr>
          <p:cNvPr id="252" name="Google Shape;252;p28"/>
          <p:cNvSpPr/>
          <p:nvPr/>
        </p:nvSpPr>
        <p:spPr>
          <a:xfrm>
            <a:off x="5357102" y="860562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3" name="Google Shape;253;p28"/>
          <p:cNvSpPr/>
          <p:nvPr/>
        </p:nvSpPr>
        <p:spPr>
          <a:xfrm>
            <a:off x="5357102" y="1752352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accent5"/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4" name="Google Shape;254;p28"/>
          <p:cNvSpPr/>
          <p:nvPr/>
        </p:nvSpPr>
        <p:spPr>
          <a:xfrm>
            <a:off x="5357102" y="2616174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" name="Google Shape;59;p14"/>
          <p:cNvSpPr txBox="1">
            <a:spLocks/>
          </p:cNvSpPr>
          <p:nvPr/>
        </p:nvSpPr>
        <p:spPr>
          <a:xfrm>
            <a:off x="1769336" y="85026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b="1" dirty="0" smtClean="0">
                <a:solidFill>
                  <a:schemeClr val="bg1"/>
                </a:solidFill>
              </a:rPr>
              <a:t>COURSE OUTLINE</a:t>
            </a:r>
            <a:endParaRPr lang="en-US" b="1" dirty="0">
              <a:solidFill>
                <a:schemeClr val="bg1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" y="3235273"/>
            <a:ext cx="5527496" cy="862441"/>
            <a:chOff x="1" y="3235273"/>
            <a:chExt cx="5527496" cy="862441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59" name="Google Shape;229;p28"/>
            <p:cNvSpPr/>
            <p:nvPr/>
          </p:nvSpPr>
          <p:spPr>
            <a:xfrm>
              <a:off x="1685928" y="3489664"/>
              <a:ext cx="3841569" cy="608050"/>
            </a:xfrm>
            <a:prstGeom prst="homePlate">
              <a:avLst>
                <a:gd name="adj" fmla="val 50000"/>
              </a:avLst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296466"/>
              <a:r>
                <a:rPr lang="en-US" sz="1350" b="1" dirty="0" smtClean="0">
                  <a:solidFill>
                    <a:srgbClr val="FFFFFF"/>
                  </a:solidFill>
                </a:rPr>
                <a:t>Tools Orientation</a:t>
              </a:r>
              <a:endParaRPr sz="135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230;p28"/>
            <p:cNvSpPr/>
            <p:nvPr/>
          </p:nvSpPr>
          <p:spPr>
            <a:xfrm>
              <a:off x="1" y="3489663"/>
              <a:ext cx="1069528" cy="608050"/>
            </a:xfrm>
            <a:prstGeom prst="rect">
              <a:avLst/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62" name="Google Shape;232;p28"/>
            <p:cNvGrpSpPr/>
            <p:nvPr/>
          </p:nvGrpSpPr>
          <p:grpSpPr>
            <a:xfrm>
              <a:off x="901526" y="3956981"/>
              <a:ext cx="952405" cy="140733"/>
              <a:chOff x="1333208" y="1624082"/>
              <a:chExt cx="1373307" cy="266132"/>
            </a:xfrm>
            <a:grpFill/>
          </p:grpSpPr>
          <p:sp>
            <p:nvSpPr>
              <p:cNvPr id="64" name="Google Shape;233;p28"/>
              <p:cNvSpPr/>
              <p:nvPr/>
            </p:nvSpPr>
            <p:spPr>
              <a:xfrm rot="10800000" flipH="1">
                <a:off x="2464266" y="1624082"/>
                <a:ext cx="242249" cy="266132"/>
              </a:xfrm>
              <a:prstGeom prst="rtTriangle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endParaRPr sz="4500" b="1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Google Shape;234;p28"/>
              <p:cNvSpPr/>
              <p:nvPr/>
            </p:nvSpPr>
            <p:spPr>
              <a:xfrm rot="10800000">
                <a:off x="1333208" y="1624082"/>
                <a:ext cx="242249" cy="266132"/>
              </a:xfrm>
              <a:prstGeom prst="rtTriangle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endParaRPr sz="4500" b="1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63" name="Google Shape;235;p28"/>
            <p:cNvSpPr/>
            <p:nvPr/>
          </p:nvSpPr>
          <p:spPr>
            <a:xfrm>
              <a:off x="902118" y="3235273"/>
              <a:ext cx="951221" cy="725317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r>
                <a:rPr lang="en-US" sz="4500" b="1" dirty="0" smtClean="0">
                  <a:solidFill>
                    <a:srgbClr val="FFFFFF"/>
                  </a:solidFill>
                </a:rPr>
                <a:t>04</a:t>
              </a:r>
              <a:endParaRPr sz="1050" dirty="0"/>
            </a:p>
          </p:txBody>
        </p:sp>
      </p:grpSp>
      <p:sp>
        <p:nvSpPr>
          <p:cNvPr id="67" name="Google Shape;237;p28"/>
          <p:cNvSpPr/>
          <p:nvPr/>
        </p:nvSpPr>
        <p:spPr>
          <a:xfrm>
            <a:off x="1685928" y="4363548"/>
            <a:ext cx="3841569" cy="608050"/>
          </a:xfrm>
          <a:prstGeom prst="homePlate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3500000" algn="br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296466"/>
            <a:r>
              <a:rPr lang="en-US" sz="1350" b="1" dirty="0" smtClean="0">
                <a:solidFill>
                  <a:srgbClr val="FFFFFF"/>
                </a:solidFill>
              </a:rPr>
              <a:t>Exam</a:t>
            </a:r>
            <a:endParaRPr sz="1350" b="1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" name="Google Shape;238;p28"/>
          <p:cNvSpPr/>
          <p:nvPr/>
        </p:nvSpPr>
        <p:spPr>
          <a:xfrm>
            <a:off x="1" y="4363547"/>
            <a:ext cx="1069528" cy="60805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3500000" algn="br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70" name="Google Shape;240;p28"/>
          <p:cNvGrpSpPr/>
          <p:nvPr/>
        </p:nvGrpSpPr>
        <p:grpSpPr>
          <a:xfrm>
            <a:off x="901526" y="4830865"/>
            <a:ext cx="952405" cy="140733"/>
            <a:chOff x="1333208" y="1624082"/>
            <a:chExt cx="1373307" cy="266132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72" name="Google Shape;241;p28"/>
            <p:cNvSpPr/>
            <p:nvPr/>
          </p:nvSpPr>
          <p:spPr>
            <a:xfrm rot="10800000" flipH="1">
              <a:off x="2464266" y="1624082"/>
              <a:ext cx="242249" cy="266132"/>
            </a:xfrm>
            <a:prstGeom prst="rtTriangle">
              <a:avLst/>
            </a:prstGeom>
            <a:grpFill/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4500" b="1">
                <a:solidFill>
                  <a:srgbClr val="FFFFFF"/>
                </a:solidFill>
              </a:endParaRPr>
            </a:p>
          </p:txBody>
        </p:sp>
        <p:sp>
          <p:nvSpPr>
            <p:cNvPr id="73" name="Google Shape;242;p28"/>
            <p:cNvSpPr/>
            <p:nvPr/>
          </p:nvSpPr>
          <p:spPr>
            <a:xfrm rot="10800000">
              <a:off x="1333208" y="1624082"/>
              <a:ext cx="242249" cy="266132"/>
            </a:xfrm>
            <a:prstGeom prst="rtTriangle">
              <a:avLst/>
            </a:prstGeom>
            <a:grpFill/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4500" b="1">
                <a:solidFill>
                  <a:srgbClr val="FFFFFF"/>
                </a:solidFill>
              </a:endParaRPr>
            </a:p>
          </p:txBody>
        </p:sp>
      </p:grpSp>
      <p:sp>
        <p:nvSpPr>
          <p:cNvPr id="71" name="Google Shape;243;p28"/>
          <p:cNvSpPr/>
          <p:nvPr/>
        </p:nvSpPr>
        <p:spPr>
          <a:xfrm>
            <a:off x="902118" y="4109157"/>
            <a:ext cx="951221" cy="72531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r>
              <a:rPr lang="en-US" sz="4500" b="1" dirty="0" smtClean="0">
                <a:solidFill>
                  <a:srgbClr val="FFFFFF"/>
                </a:solidFill>
              </a:rPr>
              <a:t>05</a:t>
            </a:r>
            <a:endParaRPr sz="1050" dirty="0"/>
          </a:p>
        </p:txBody>
      </p:sp>
      <p:sp>
        <p:nvSpPr>
          <p:cNvPr id="74" name="Google Shape;252;p28"/>
          <p:cNvSpPr/>
          <p:nvPr/>
        </p:nvSpPr>
        <p:spPr>
          <a:xfrm>
            <a:off x="5357102" y="3489662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" name="Google Shape;253;p28"/>
          <p:cNvSpPr/>
          <p:nvPr/>
        </p:nvSpPr>
        <p:spPr>
          <a:xfrm>
            <a:off x="5357102" y="4381452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00129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blEuQeSpqI_k7tkardI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blEuQeSpqI_k7tkardI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zzifNeQZaP82kFVtKoF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zzifNeQZaP82kFVtKoF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PNXYAZQHi06ICKl3UmS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TjW6fRS3C2H6NBcEieI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Aron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15A186"/>
      </a:accent1>
      <a:accent2>
        <a:srgbClr val="F39C11"/>
      </a:accent2>
      <a:accent3>
        <a:srgbClr val="FF0000"/>
      </a:accent3>
      <a:accent4>
        <a:srgbClr val="7030A0"/>
      </a:accent4>
      <a:accent5>
        <a:srgbClr val="009FEB"/>
      </a:accent5>
      <a:accent6>
        <a:srgbClr val="6EA92D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plate PresentationGo">
  <a:themeElements>
    <a:clrScheme name="PGO2">
      <a:dk1>
        <a:sysClr val="windowText" lastClr="000000"/>
      </a:dk1>
      <a:lt1>
        <a:sysClr val="window" lastClr="FFFFFF"/>
      </a:lt1>
      <a:dk2>
        <a:srgbClr val="063951"/>
      </a:dk2>
      <a:lt2>
        <a:srgbClr val="D3D3D3"/>
      </a:lt2>
      <a:accent1>
        <a:srgbClr val="3A5C84"/>
      </a:accent1>
      <a:accent2>
        <a:srgbClr val="F7931F"/>
      </a:accent2>
      <a:accent3>
        <a:srgbClr val="4CC1EF"/>
      </a:accent3>
      <a:accent4>
        <a:srgbClr val="FFCC4C"/>
      </a:accent4>
      <a:accent5>
        <a:srgbClr val="C13018"/>
      </a:accent5>
      <a:accent6>
        <a:srgbClr val="A2B969"/>
      </a:accent6>
      <a:hlink>
        <a:srgbClr val="6C2B43"/>
      </a:hlink>
      <a:folHlink>
        <a:srgbClr val="6C2B43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Office Theme">
  <a:themeElements>
    <a:clrScheme name="Mix-1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F2600"/>
      </a:accent1>
      <a:accent2>
        <a:srgbClr val="FFC801"/>
      </a:accent2>
      <a:accent3>
        <a:srgbClr val="ABD100"/>
      </a:accent3>
      <a:accent4>
        <a:srgbClr val="00B69F"/>
      </a:accent4>
      <a:accent5>
        <a:srgbClr val="00C9F3"/>
      </a:accent5>
      <a:accent6>
        <a:srgbClr val="8B8ED1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Portadas">
  <a:themeElements>
    <a:clrScheme name="Minsait">
      <a:dk1>
        <a:srgbClr val="1A3B47"/>
      </a:dk1>
      <a:lt1>
        <a:srgbClr val="FFFFFF"/>
      </a:lt1>
      <a:dk2>
        <a:srgbClr val="FDE3D3"/>
      </a:dk2>
      <a:lt2>
        <a:srgbClr val="E7E6E6"/>
      </a:lt2>
      <a:accent1>
        <a:srgbClr val="FFEA80"/>
      </a:accent1>
      <a:accent2>
        <a:srgbClr val="F7AC6F"/>
      </a:accent2>
      <a:accent3>
        <a:srgbClr val="E88AA2"/>
      </a:accent3>
      <a:accent4>
        <a:srgbClr val="79C5B3"/>
      </a:accent4>
      <a:accent5>
        <a:srgbClr val="639FCB"/>
      </a:accent5>
      <a:accent6>
        <a:srgbClr val="7874B3"/>
      </a:accent6>
      <a:hlink>
        <a:srgbClr val="E88AA2"/>
      </a:hlink>
      <a:folHlink>
        <a:srgbClr val="F7AC6F"/>
      </a:folHlink>
    </a:clrScheme>
    <a:fontScheme name="Personalizado 3">
      <a:majorFont>
        <a:latin typeface="Playfair Display"/>
        <a:ea typeface=""/>
        <a:cs typeface=""/>
      </a:majorFont>
      <a:minorFont>
        <a:latin typeface="Soho Gothic Pro Light"/>
        <a:ea typeface=""/>
        <a:cs typeface="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ción8" id="{52E2D4CE-1013-439E-8533-4CC7874E7596}" vid="{E32191D4-F868-4077-9C9D-42D0FAE779B7}"/>
    </a:ext>
  </a:extLst>
</a:theme>
</file>

<file path=ppt/theme/theme6.xml><?xml version="1.0" encoding="utf-8"?>
<a:theme xmlns:a="http://schemas.openxmlformats.org/drawingml/2006/main" name="2_Office Theme">
  <a:themeElements>
    <a:clrScheme name="slidemodel.com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779B7"/>
      </a:accent1>
      <a:accent2>
        <a:srgbClr val="019ADD"/>
      </a:accent2>
      <a:accent3>
        <a:srgbClr val="6BC2ED"/>
      </a:accent3>
      <a:accent4>
        <a:srgbClr val="A7CCDF"/>
      </a:accent4>
      <a:accent5>
        <a:srgbClr val="595959"/>
      </a:accent5>
      <a:accent6>
        <a:srgbClr val="3F3F3F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Template PresentationGo Dark">
  <a:themeElements>
    <a:clrScheme name="PGO2">
      <a:dk1>
        <a:sysClr val="windowText" lastClr="000000"/>
      </a:dk1>
      <a:lt1>
        <a:sysClr val="window" lastClr="FFFFFF"/>
      </a:lt1>
      <a:dk2>
        <a:srgbClr val="063951"/>
      </a:dk2>
      <a:lt2>
        <a:srgbClr val="D3D3D3"/>
      </a:lt2>
      <a:accent1>
        <a:srgbClr val="3A5C84"/>
      </a:accent1>
      <a:accent2>
        <a:srgbClr val="F7931F"/>
      </a:accent2>
      <a:accent3>
        <a:srgbClr val="4CC1EF"/>
      </a:accent3>
      <a:accent4>
        <a:srgbClr val="FFCC4C"/>
      </a:accent4>
      <a:accent5>
        <a:srgbClr val="C13018"/>
      </a:accent5>
      <a:accent6>
        <a:srgbClr val="A2B969"/>
      </a:accent6>
      <a:hlink>
        <a:srgbClr val="6C2B43"/>
      </a:hlink>
      <a:folHlink>
        <a:srgbClr val="6C2B43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slidemodel.com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0779B7"/>
    </a:accent1>
    <a:accent2>
      <a:srgbClr val="019ADD"/>
    </a:accent2>
    <a:accent3>
      <a:srgbClr val="6BC2ED"/>
    </a:accent3>
    <a:accent4>
      <a:srgbClr val="A7CCDF"/>
    </a:accent4>
    <a:accent5>
      <a:srgbClr val="595959"/>
    </a:accent5>
    <a:accent6>
      <a:srgbClr val="3F3F3F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slidemodel.com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0779B7"/>
    </a:accent1>
    <a:accent2>
      <a:srgbClr val="019ADD"/>
    </a:accent2>
    <a:accent3>
      <a:srgbClr val="6BC2ED"/>
    </a:accent3>
    <a:accent4>
      <a:srgbClr val="A7CCDF"/>
    </a:accent4>
    <a:accent5>
      <a:srgbClr val="595959"/>
    </a:accent5>
    <a:accent6>
      <a:srgbClr val="3F3F3F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slidemodel.com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0779B7"/>
    </a:accent1>
    <a:accent2>
      <a:srgbClr val="019ADD"/>
    </a:accent2>
    <a:accent3>
      <a:srgbClr val="6BC2ED"/>
    </a:accent3>
    <a:accent4>
      <a:srgbClr val="A7CCDF"/>
    </a:accent4>
    <a:accent5>
      <a:srgbClr val="595959"/>
    </a:accent5>
    <a:accent6>
      <a:srgbClr val="3F3F3F"/>
    </a:accent6>
    <a:hlink>
      <a:srgbClr val="0000FF"/>
    </a:hlink>
    <a:folHlink>
      <a:srgbClr val="800080"/>
    </a:folHlink>
  </a:clrScheme>
</a:themeOverride>
</file>

<file path=ppt/theme/themeOverride4.xml><?xml version="1.0" encoding="utf-8"?>
<a:themeOverride xmlns:a="http://schemas.openxmlformats.org/drawingml/2006/main">
  <a:clrScheme name="slidemodel.com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0779B7"/>
    </a:accent1>
    <a:accent2>
      <a:srgbClr val="019ADD"/>
    </a:accent2>
    <a:accent3>
      <a:srgbClr val="6BC2ED"/>
    </a:accent3>
    <a:accent4>
      <a:srgbClr val="A7CCDF"/>
    </a:accent4>
    <a:accent5>
      <a:srgbClr val="595959"/>
    </a:accent5>
    <a:accent6>
      <a:srgbClr val="3F3F3F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4486</TotalTime>
  <Words>3667</Words>
  <Application>Microsoft Office PowerPoint</Application>
  <PresentationFormat>On-screen Show (16:9)</PresentationFormat>
  <Paragraphs>1129</Paragraphs>
  <Slides>79</Slides>
  <Notes>37</Notes>
  <HiddenSlides>2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79</vt:i4>
      </vt:variant>
    </vt:vector>
  </HeadingPairs>
  <TitlesOfParts>
    <vt:vector size="98" baseType="lpstr">
      <vt:lpstr>Arial</vt:lpstr>
      <vt:lpstr>Calibri</vt:lpstr>
      <vt:lpstr>Calibri Light</vt:lpstr>
      <vt:lpstr>Cambria Math</vt:lpstr>
      <vt:lpstr>Helvetica</vt:lpstr>
      <vt:lpstr>Open Sans</vt:lpstr>
      <vt:lpstr>Playfair Display</vt:lpstr>
      <vt:lpstr>Soho Gothic Pro</vt:lpstr>
      <vt:lpstr>Soho Gothic Pro Light</vt:lpstr>
      <vt:lpstr>Times New Roman</vt:lpstr>
      <vt:lpstr>Simple Light</vt:lpstr>
      <vt:lpstr>Office Theme</vt:lpstr>
      <vt:lpstr>Template PresentationGo</vt:lpstr>
      <vt:lpstr>1_Office Theme</vt:lpstr>
      <vt:lpstr>Portadas</vt:lpstr>
      <vt:lpstr>2_Office Theme</vt:lpstr>
      <vt:lpstr>Template PresentationGo Dark</vt:lpstr>
      <vt:lpstr>Diapositiva de think-cell</vt:lpstr>
      <vt:lpstr>think-cell Slide</vt:lpstr>
      <vt:lpstr>PowerPoint Presentation</vt:lpstr>
      <vt:lpstr>HOUSE RULES</vt:lpstr>
      <vt:lpstr>OBJECTIV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rocess Flow</vt:lpstr>
      <vt:lpstr>PowerPoint Presentation</vt:lpstr>
      <vt:lpstr>PowerPoint Presentation</vt:lpstr>
      <vt:lpstr>PowerPoint Presentation</vt:lpstr>
      <vt:lpstr>PowerPoint Presentation</vt:lpstr>
      <vt:lpstr>Roles &amp; Responsibiliti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5 Types of Application</vt:lpstr>
      <vt:lpstr>PowerPoint Presentation</vt:lpstr>
      <vt:lpstr>4 Types of Input Data</vt:lpstr>
      <vt:lpstr>4 Types of Input Data</vt:lpstr>
      <vt:lpstr>4 Types of Input Data</vt:lpstr>
      <vt:lpstr>4 Types of Input Data</vt:lpstr>
      <vt:lpstr>4 Types of Input Data</vt:lpstr>
      <vt:lpstr>Counting Input Data</vt:lpstr>
      <vt:lpstr>PowerPoint Presentation</vt:lpstr>
      <vt:lpstr>Complexity Matrix</vt:lpstr>
      <vt:lpstr>PowerPoint Presentation</vt:lpstr>
      <vt:lpstr>Type of Licenses</vt:lpstr>
      <vt:lpstr>Attended Robots</vt:lpstr>
      <vt:lpstr>Unattended Robots</vt:lpstr>
      <vt:lpstr>Choosing the Type of Licenses</vt:lpstr>
      <vt:lpstr>Number of Licens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NITIAL PROCESS ASSESSMENT(IPA) QUESTIONNAIR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MPLEXITY CALCULATOR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OI CALCULATOR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BUSINESS CASE TEMPLAT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IONGSON, Engelbert R</dc:creator>
  <cp:lastModifiedBy>Therese Tambago</cp:lastModifiedBy>
  <cp:revision>192</cp:revision>
  <dcterms:modified xsi:type="dcterms:W3CDTF">2020-01-20T09:47:52Z</dcterms:modified>
</cp:coreProperties>
</file>